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5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6.xml" ContentType="application/vnd.openxmlformats-officedocument.theme+xml"/>
  <Override PartName="/ppt/tags/tag10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7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8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9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10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11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1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13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14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15.xml" ContentType="application/vnd.openxmlformats-officedocument.theme+xml"/>
  <Override PartName="/ppt/theme/theme16.xml" ContentType="application/vnd.openxmlformats-officedocument.theme+xml"/>
  <Override PartName="/ppt/tags/tag3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99" r:id="rId4"/>
    <p:sldMasterId id="2147483703" r:id="rId5"/>
    <p:sldMasterId id="2147483710" r:id="rId6"/>
    <p:sldMasterId id="2147483717" r:id="rId7"/>
    <p:sldMasterId id="2147483722" r:id="rId8"/>
    <p:sldMasterId id="2147483727" r:id="rId9"/>
    <p:sldMasterId id="2147483737" r:id="rId10"/>
    <p:sldMasterId id="2147483748" r:id="rId11"/>
    <p:sldMasterId id="2147483758" r:id="rId12"/>
    <p:sldMasterId id="2147483764" r:id="rId13"/>
    <p:sldMasterId id="2147483775" r:id="rId14"/>
    <p:sldMasterId id="2147483785" r:id="rId15"/>
    <p:sldMasterId id="2147483792" r:id="rId16"/>
    <p:sldMasterId id="2147483799" r:id="rId17"/>
  </p:sldMasterIdLst>
  <p:notesMasterIdLst>
    <p:notesMasterId r:id="rId28"/>
  </p:notesMasterIdLst>
  <p:handoutMasterIdLst>
    <p:handoutMasterId r:id="rId29"/>
  </p:handoutMasterIdLst>
  <p:sldIdLst>
    <p:sldId id="856" r:id="rId18"/>
    <p:sldId id="857" r:id="rId19"/>
    <p:sldId id="777" r:id="rId20"/>
    <p:sldId id="829" r:id="rId21"/>
    <p:sldId id="837" r:id="rId22"/>
    <p:sldId id="844" r:id="rId23"/>
    <p:sldId id="848" r:id="rId24"/>
    <p:sldId id="850" r:id="rId25"/>
    <p:sldId id="851" r:id="rId26"/>
    <p:sldId id="855" r:id="rId27"/>
  </p:sldIdLst>
  <p:sldSz cx="12188825" cy="6858000"/>
  <p:notesSz cx="6985000" cy="9283700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4" pos="336" userDrawn="1">
          <p15:clr>
            <a:srgbClr val="A4A3A4"/>
          </p15:clr>
        </p15:guide>
        <p15:guide id="5" orient="horz" pos="528" userDrawn="1">
          <p15:clr>
            <a:srgbClr val="A4A3A4"/>
          </p15:clr>
        </p15:guide>
        <p15:guide id="6" orient="horz" pos="840" userDrawn="1">
          <p15:clr>
            <a:srgbClr val="A4A3A4"/>
          </p15:clr>
        </p15:guide>
        <p15:guide id="7" orient="horz" pos="696" userDrawn="1">
          <p15:clr>
            <a:srgbClr val="A4A3A4"/>
          </p15:clr>
        </p15:guide>
        <p15:guide id="9" pos="5448" userDrawn="1">
          <p15:clr>
            <a:srgbClr val="A4A3A4"/>
          </p15:clr>
        </p15:guide>
        <p15:guide id="10" orient="horz" pos="2976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ownsend, Scott" initials="ST" lastIdx="67" clrIdx="0">
    <p:extLst/>
  </p:cmAuthor>
  <p:cmAuthor id="2" name="Christensen, Cole" initials="CC" lastIdx="1" clrIdx="1">
    <p:extLst/>
  </p:cmAuthor>
  <p:cmAuthor id="3" name="Sood, Supriya" initials="SS" lastIdx="19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8E08C"/>
    <a:srgbClr val="F9F9F9"/>
    <a:srgbClr val="FFFF99"/>
    <a:srgbClr val="FFFF00"/>
    <a:srgbClr val="FFFFFF"/>
    <a:srgbClr val="E7B7FF"/>
    <a:srgbClr val="F2F2F2"/>
    <a:srgbClr val="00A4E4"/>
    <a:srgbClr val="0073AE"/>
    <a:srgbClr val="6B7C6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047" autoAdjust="0"/>
    <p:restoredTop sz="84902" autoAdjust="0"/>
  </p:normalViewPr>
  <p:slideViewPr>
    <p:cSldViewPr snapToGrid="0">
      <p:cViewPr varScale="1">
        <p:scale>
          <a:sx n="84" d="100"/>
          <a:sy n="84" d="100"/>
        </p:scale>
        <p:origin x="-102" y="-618"/>
      </p:cViewPr>
      <p:guideLst>
        <p:guide orient="horz" pos="2160"/>
        <p:guide orient="horz" pos="528"/>
        <p:guide orient="horz" pos="840"/>
        <p:guide orient="horz" pos="696"/>
        <p:guide orient="horz" pos="2976"/>
        <p:guide pos="3839"/>
        <p:guide pos="448"/>
        <p:guide pos="726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1.xml"/><Relationship Id="rId26" Type="http://schemas.openxmlformats.org/officeDocument/2006/relationships/slide" Target="slides/slide9.xml"/><Relationship Id="rId3" Type="http://schemas.openxmlformats.org/officeDocument/2006/relationships/customXml" Target="../customXml/item3.xml"/><Relationship Id="rId21" Type="http://schemas.openxmlformats.org/officeDocument/2006/relationships/slide" Target="slides/slide4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8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3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7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6.xml"/><Relationship Id="rId28" Type="http://schemas.openxmlformats.org/officeDocument/2006/relationships/notesMaster" Target="notesMasters/notesMaster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2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5.xml"/><Relationship Id="rId27" Type="http://schemas.openxmlformats.org/officeDocument/2006/relationships/slide" Target="slides/slide10.xml"/><Relationship Id="rId30" Type="http://schemas.openxmlformats.org/officeDocument/2006/relationships/tags" Target="tags/tag1.xml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027466" cy="46434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55954" y="1"/>
            <a:ext cx="3027466" cy="46434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095509-F7EB-4FF7-9CBF-F0DC908B8FAA}" type="datetimeFigureOut">
              <a:rPr lang="en-US" smtClean="0"/>
              <a:t>10/10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17760"/>
            <a:ext cx="3027466" cy="46434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55954" y="8817760"/>
            <a:ext cx="3027466" cy="46434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56E8A46-19E8-4B2F-89E5-B7DF62CEAA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11940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27466" cy="46594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5954" y="0"/>
            <a:ext cx="3027466" cy="46594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9C5DEFF-A5AF-483F-A7DB-D9E8F24B4CAF}" type="datetimeFigureOut">
              <a:rPr lang="en-US" smtClean="0"/>
              <a:t>10/10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08025" y="1160463"/>
            <a:ext cx="5568950" cy="3133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9133" y="4467921"/>
            <a:ext cx="5586735" cy="365571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17759"/>
            <a:ext cx="3027466" cy="46594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5954" y="8817759"/>
            <a:ext cx="3027466" cy="46594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0CB68D-9535-4A59-8B09-7182274789D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69290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08025" y="1160463"/>
            <a:ext cx="5568950" cy="31337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0CB68D-9535-4A59-8B09-7182274789D5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81172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0CB68D-9535-4A59-8B09-7182274789D5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65325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9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6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0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8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0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2.xml"/><Relationship Id="rId4" Type="http://schemas.openxmlformats.org/officeDocument/2006/relationships/image" Target="../media/image7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27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29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610172" y="3276134"/>
            <a:ext cx="10995242" cy="1501488"/>
          </a:xfrm>
        </p:spPr>
        <p:txBody>
          <a:bodyPr>
            <a:normAutofit/>
          </a:bodyPr>
          <a:lstStyle>
            <a:lvl1pPr marL="0" marR="0" indent="0" algn="l" defTabSz="4570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 sz="1400" b="0" i="0" baseline="0">
                <a:solidFill>
                  <a:srgbClr val="0095DC"/>
                </a:solidFill>
                <a:latin typeface="AIG Futura Book"/>
                <a:cs typeface="AIG Futura Book"/>
              </a:defRPr>
            </a:lvl1pPr>
            <a:lvl2pPr marL="457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0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0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09442" y="2841631"/>
            <a:ext cx="10995337" cy="303213"/>
          </a:xfrm>
        </p:spPr>
        <p:txBody>
          <a:bodyPr>
            <a:normAutofit/>
          </a:bodyPr>
          <a:lstStyle>
            <a:lvl1pPr>
              <a:defRPr sz="1800">
                <a:solidFill>
                  <a:srgbClr val="0095DC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9" name="Picture 5" descr="AIG_PRI_pms2995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12589" y="685801"/>
            <a:ext cx="1849485" cy="74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" name="Group 8"/>
          <p:cNvGrpSpPr>
            <a:grpSpLocks/>
          </p:cNvGrpSpPr>
          <p:nvPr userDrawn="1"/>
        </p:nvGrpSpPr>
        <p:grpSpPr bwMode="auto">
          <a:xfrm flipH="1">
            <a:off x="10716010" y="1"/>
            <a:ext cx="1472816" cy="1119188"/>
            <a:chOff x="1440543" y="1418168"/>
            <a:chExt cx="769056" cy="769056"/>
          </a:xfrm>
        </p:grpSpPr>
        <p:sp>
          <p:nvSpPr>
            <p:cNvPr id="16" name="Rectangle 15"/>
            <p:cNvSpPr>
              <a:spLocks noChangeArrowheads="1"/>
            </p:cNvSpPr>
            <p:nvPr userDrawn="1"/>
          </p:nvSpPr>
          <p:spPr bwMode="gray">
            <a:xfrm rot="5400000">
              <a:off x="1701804" y="1156907"/>
              <a:ext cx="246534" cy="769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defTabSz="45700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dirty="0" smtClean="0">
                <a:solidFill>
                  <a:srgbClr val="00A4E4"/>
                </a:solidFill>
              </a:endParaRPr>
            </a:p>
          </p:txBody>
        </p:sp>
        <p:sp>
          <p:nvSpPr>
            <p:cNvPr id="17" name="Rectangle 16"/>
            <p:cNvSpPr>
              <a:spLocks noChangeArrowheads="1"/>
            </p:cNvSpPr>
            <p:nvPr userDrawn="1"/>
          </p:nvSpPr>
          <p:spPr bwMode="gray">
            <a:xfrm>
              <a:off x="1440543" y="1418168"/>
              <a:ext cx="246407" cy="769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defTabSz="45700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dirty="0" smtClean="0">
                <a:solidFill>
                  <a:srgbClr val="00A4E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032336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1904" y="1506539"/>
            <a:ext cx="10969943" cy="4672584"/>
          </a:xfrm>
        </p:spPr>
        <p:txBody>
          <a:bodyPr/>
          <a:lstStyle>
            <a:lvl1pPr>
              <a:lnSpc>
                <a:spcPct val="100000"/>
              </a:lnSpc>
              <a:defRPr sz="1800"/>
            </a:lvl1pPr>
            <a:lvl2pPr>
              <a:lnSpc>
                <a:spcPct val="100000"/>
              </a:lnSpc>
              <a:defRPr sz="1600"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2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441" y="869061"/>
            <a:ext cx="10969943" cy="502920"/>
          </a:xfrm>
        </p:spPr>
        <p:txBody>
          <a:bodyPr rtlCol="0">
            <a:noAutofit/>
          </a:bodyPr>
          <a:lstStyle>
            <a:lvl1pPr marL="0" indent="0">
              <a:buNone/>
              <a:defRPr lang="en-US" sz="160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1510906" y="6220264"/>
            <a:ext cx="6983181" cy="492125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lang="en-US" sz="8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4"/>
          </p:nvPr>
        </p:nvSpPr>
        <p:spPr>
          <a:xfrm>
            <a:off x="11433281" y="6589277"/>
            <a:ext cx="125034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>
              <a:defRPr lang="en-US">
                <a:solidFill>
                  <a:srgbClr val="333333">
                    <a:tint val="75000"/>
                  </a:srgbClr>
                </a:solidFill>
              </a:defRPr>
            </a:lvl1pPr>
          </a:lstStyle>
          <a:p>
            <a:pPr>
              <a:defRPr/>
            </a:pPr>
            <a:fld id="{C1E3CE8C-54DD-48DD-8179-87A855869D8D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43592104"/>
      </p:ext>
    </p:extLst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610172" y="3276134"/>
            <a:ext cx="10995242" cy="1501488"/>
          </a:xfrm>
        </p:spPr>
        <p:txBody>
          <a:bodyPr>
            <a:normAutofit/>
          </a:bodyPr>
          <a:lstStyle>
            <a:lvl1pPr marL="0" marR="0" indent="0" algn="l" defTabSz="4570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 sz="1400" b="0" i="0" baseline="0">
                <a:solidFill>
                  <a:srgbClr val="0095DC"/>
                </a:solidFill>
                <a:latin typeface="AIG Futura Book"/>
                <a:cs typeface="AIG Futura Book"/>
              </a:defRPr>
            </a:lvl1pPr>
            <a:lvl2pPr marL="457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0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0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09442" y="2841631"/>
            <a:ext cx="10995337" cy="303213"/>
          </a:xfrm>
        </p:spPr>
        <p:txBody>
          <a:bodyPr>
            <a:normAutofit/>
          </a:bodyPr>
          <a:lstStyle>
            <a:lvl1pPr>
              <a:defRPr sz="1800">
                <a:solidFill>
                  <a:srgbClr val="0095DC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5" name="Group 8"/>
          <p:cNvGrpSpPr>
            <a:grpSpLocks/>
          </p:cNvGrpSpPr>
          <p:nvPr userDrawn="1"/>
        </p:nvGrpSpPr>
        <p:grpSpPr bwMode="auto">
          <a:xfrm flipH="1">
            <a:off x="10716010" y="1"/>
            <a:ext cx="1472816" cy="1119188"/>
            <a:chOff x="1440543" y="1418168"/>
            <a:chExt cx="769056" cy="769056"/>
          </a:xfrm>
        </p:grpSpPr>
        <p:sp>
          <p:nvSpPr>
            <p:cNvPr id="6" name="Rectangle 11"/>
            <p:cNvSpPr>
              <a:spLocks noChangeArrowheads="1"/>
            </p:cNvSpPr>
            <p:nvPr userDrawn="1"/>
          </p:nvSpPr>
          <p:spPr bwMode="gray">
            <a:xfrm rot="5400000">
              <a:off x="1701732" y="1156979"/>
              <a:ext cx="246678" cy="769056"/>
            </a:xfrm>
            <a:prstGeom prst="rect">
              <a:avLst/>
            </a:prstGeom>
            <a:solidFill>
              <a:srgbClr val="009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defTabSz="914012" eaLnBrk="1" hangingPunct="1"/>
              <a:endParaRPr lang="en-US" altLang="en-US" sz="1800" dirty="0">
                <a:solidFill>
                  <a:srgbClr val="00A4E4"/>
                </a:solidFill>
              </a:endParaRPr>
            </a:p>
          </p:txBody>
        </p:sp>
        <p:sp>
          <p:nvSpPr>
            <p:cNvPr id="8" name="Rectangle 12"/>
            <p:cNvSpPr>
              <a:spLocks noChangeArrowheads="1"/>
            </p:cNvSpPr>
            <p:nvPr userDrawn="1"/>
          </p:nvSpPr>
          <p:spPr bwMode="gray">
            <a:xfrm>
              <a:off x="1440543" y="1418168"/>
              <a:ext cx="246555" cy="769056"/>
            </a:xfrm>
            <a:prstGeom prst="rect">
              <a:avLst/>
            </a:prstGeom>
            <a:solidFill>
              <a:srgbClr val="009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defTabSz="914012" eaLnBrk="1" hangingPunct="1"/>
              <a:endParaRPr lang="en-US" altLang="en-US" sz="1800" dirty="0">
                <a:solidFill>
                  <a:srgbClr val="00A4E4"/>
                </a:solidFill>
              </a:endParaRPr>
            </a:p>
          </p:txBody>
        </p:sp>
      </p:grpSp>
      <p:pic>
        <p:nvPicPr>
          <p:cNvPr id="9" name="Picture 5" descr="AIG_PRI_pms2995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12589" y="685801"/>
            <a:ext cx="1849485" cy="74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557263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2607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851675" y="3081528"/>
            <a:ext cx="4461110" cy="256032"/>
          </a:xfrm>
          <a:noFill/>
        </p:spPr>
        <p:txBody>
          <a:bodyPr lIns="73120" rIns="73120" anchor="ctr" anchorCtr="1"/>
          <a:lstStyle>
            <a:lvl1pPr>
              <a:buNone/>
              <a:defRPr sz="16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617763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with pic 2 speakers no pic long pres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442" y="3920068"/>
            <a:ext cx="6549800" cy="1008254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000"/>
            </a:lvl1pPr>
          </a:lstStyle>
          <a:p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442" y="5061672"/>
            <a:ext cx="6549800" cy="469516"/>
          </a:xfrm>
        </p:spPr>
        <p:txBody>
          <a:bodyPr anchor="t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i="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sub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443" y="3310371"/>
            <a:ext cx="1285868" cy="523875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7294672" y="4083050"/>
            <a:ext cx="4339019" cy="804672"/>
          </a:xfrm>
        </p:spPr>
        <p:txBody>
          <a:bodyPr anchor="b" anchorCtr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90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7294672" y="5065183"/>
            <a:ext cx="4339019" cy="804672"/>
          </a:xfrm>
        </p:spPr>
        <p:txBody>
          <a:bodyPr anchor="b" anchorCtr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90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88825" cy="275234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Freeform 14"/>
          <p:cNvSpPr>
            <a:spLocks noChangeArrowheads="1"/>
          </p:cNvSpPr>
          <p:nvPr userDrawn="1"/>
        </p:nvSpPr>
        <p:spPr bwMode="gray">
          <a:xfrm rot="16200000" flipH="1">
            <a:off x="11395583" y="-108220"/>
            <a:ext cx="685022" cy="901467"/>
          </a:xfrm>
          <a:custGeom>
            <a:avLst/>
            <a:gdLst>
              <a:gd name="connsiteX0" fmla="*/ 0 w 1119189"/>
              <a:gd name="connsiteY0" fmla="*/ 0 h 1104900"/>
              <a:gd name="connsiteX1" fmla="*/ 0 w 1119189"/>
              <a:gd name="connsiteY1" fmla="*/ 1104900 h 1104900"/>
              <a:gd name="connsiteX2" fmla="*/ 358775 w 1119189"/>
              <a:gd name="connsiteY2" fmla="*/ 1104900 h 1104900"/>
              <a:gd name="connsiteX3" fmla="*/ 358775 w 1119189"/>
              <a:gd name="connsiteY3" fmla="*/ 1104900 h 1104900"/>
              <a:gd name="connsiteX4" fmla="*/ 1119189 w 1119189"/>
              <a:gd name="connsiteY4" fmla="*/ 1104900 h 1104900"/>
              <a:gd name="connsiteX5" fmla="*/ 1119189 w 1119189"/>
              <a:gd name="connsiteY5" fmla="*/ 750888 h 1104900"/>
              <a:gd name="connsiteX6" fmla="*/ 358775 w 1119189"/>
              <a:gd name="connsiteY6" fmla="*/ 750888 h 1104900"/>
              <a:gd name="connsiteX7" fmla="*/ 358775 w 1119189"/>
              <a:gd name="connsiteY7" fmla="*/ 0 h 1104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19189" h="1104900">
                <a:moveTo>
                  <a:pt x="0" y="0"/>
                </a:moveTo>
                <a:lnTo>
                  <a:pt x="0" y="1104900"/>
                </a:lnTo>
                <a:lnTo>
                  <a:pt x="358775" y="1104900"/>
                </a:lnTo>
                <a:lnTo>
                  <a:pt x="358775" y="1104900"/>
                </a:lnTo>
                <a:lnTo>
                  <a:pt x="1119189" y="1104900"/>
                </a:lnTo>
                <a:lnTo>
                  <a:pt x="1119189" y="750888"/>
                </a:lnTo>
                <a:lnTo>
                  <a:pt x="358775" y="750888"/>
                </a:lnTo>
                <a:lnTo>
                  <a:pt x="358775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square" anchor="ctr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914012" eaLnBrk="1" hangingPunct="1">
              <a:defRPr/>
            </a:pPr>
            <a:endParaRPr lang="en-US" altLang="en-US" sz="1800" dirty="0" smtClean="0">
              <a:solidFill>
                <a:srgbClr val="00A4E4"/>
              </a:solidFill>
            </a:endParaRP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4" y="5996941"/>
            <a:ext cx="10969944" cy="438759"/>
          </a:xfrm>
        </p:spPr>
        <p:txBody>
          <a:bodyPr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750" kern="120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 smtClean="0"/>
              <a:t>Text placeholder for disclaimer tex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90625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414">
          <p15:clr>
            <a:srgbClr val="FBAE40"/>
          </p15:clr>
        </p15:guide>
        <p15:guide id="2" orient="horz" pos="359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Column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533262" y="1009654"/>
            <a:ext cx="11122303" cy="5200649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20566" y="514353"/>
            <a:ext cx="11135000" cy="258763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40181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610172" y="3276134"/>
            <a:ext cx="10995242" cy="1501488"/>
          </a:xfrm>
        </p:spPr>
        <p:txBody>
          <a:bodyPr>
            <a:normAutofit/>
          </a:bodyPr>
          <a:lstStyle>
            <a:lvl1pPr marL="0" marR="0" indent="0" algn="l" defTabSz="4570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 sz="1400" b="0" i="0" baseline="0">
                <a:solidFill>
                  <a:srgbClr val="0095DC"/>
                </a:solidFill>
                <a:latin typeface="AIG Futura Book"/>
                <a:cs typeface="AIG Futura Book"/>
              </a:defRPr>
            </a:lvl1pPr>
            <a:lvl2pPr marL="457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0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0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09442" y="2841631"/>
            <a:ext cx="10995337" cy="303213"/>
          </a:xfrm>
        </p:spPr>
        <p:txBody>
          <a:bodyPr>
            <a:normAutofit/>
          </a:bodyPr>
          <a:lstStyle>
            <a:lvl1pPr>
              <a:defRPr sz="1800">
                <a:solidFill>
                  <a:srgbClr val="0095DC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5" name="Group 8"/>
          <p:cNvGrpSpPr>
            <a:grpSpLocks/>
          </p:cNvGrpSpPr>
          <p:nvPr userDrawn="1"/>
        </p:nvGrpSpPr>
        <p:grpSpPr bwMode="auto">
          <a:xfrm flipH="1">
            <a:off x="10716010" y="1"/>
            <a:ext cx="1472816" cy="1119188"/>
            <a:chOff x="1440543" y="1418168"/>
            <a:chExt cx="769056" cy="769056"/>
          </a:xfrm>
        </p:grpSpPr>
        <p:sp>
          <p:nvSpPr>
            <p:cNvPr id="6" name="Rectangle 11"/>
            <p:cNvSpPr>
              <a:spLocks noChangeArrowheads="1"/>
            </p:cNvSpPr>
            <p:nvPr userDrawn="1"/>
          </p:nvSpPr>
          <p:spPr bwMode="gray">
            <a:xfrm rot="5400000">
              <a:off x="1701732" y="1156979"/>
              <a:ext cx="246678" cy="769056"/>
            </a:xfrm>
            <a:prstGeom prst="rect">
              <a:avLst/>
            </a:prstGeom>
            <a:solidFill>
              <a:srgbClr val="009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defTabSz="914012" eaLnBrk="1" hangingPunct="1"/>
              <a:endParaRPr lang="en-US" altLang="en-US" sz="1800" dirty="0">
                <a:solidFill>
                  <a:srgbClr val="00A4E4"/>
                </a:solidFill>
              </a:endParaRPr>
            </a:p>
          </p:txBody>
        </p:sp>
        <p:sp>
          <p:nvSpPr>
            <p:cNvPr id="8" name="Rectangle 12"/>
            <p:cNvSpPr>
              <a:spLocks noChangeArrowheads="1"/>
            </p:cNvSpPr>
            <p:nvPr userDrawn="1"/>
          </p:nvSpPr>
          <p:spPr bwMode="gray">
            <a:xfrm>
              <a:off x="1440543" y="1418168"/>
              <a:ext cx="246555" cy="769056"/>
            </a:xfrm>
            <a:prstGeom prst="rect">
              <a:avLst/>
            </a:prstGeom>
            <a:solidFill>
              <a:srgbClr val="009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defTabSz="914012" eaLnBrk="1" hangingPunct="1"/>
              <a:endParaRPr lang="en-US" altLang="en-US" sz="1800" dirty="0">
                <a:solidFill>
                  <a:srgbClr val="00A4E4"/>
                </a:solidFill>
              </a:endParaRPr>
            </a:p>
          </p:txBody>
        </p:sp>
      </p:grpSp>
      <p:pic>
        <p:nvPicPr>
          <p:cNvPr id="9" name="Picture 5" descr="AIG_PRI_pms2995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12589" y="685801"/>
            <a:ext cx="1849485" cy="74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 userDrawn="1"/>
        </p:nvSpPr>
        <p:spPr>
          <a:xfrm>
            <a:off x="9348282" y="-3486"/>
            <a:ext cx="8813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012"/>
            <a:r>
              <a:rPr lang="en-US" b="1" dirty="0">
                <a:solidFill>
                  <a:srgbClr val="C00000"/>
                </a:solidFill>
                <a:latin typeface="Century Gothic" panose="020B0502020202020204" pitchFamily="34" charset="0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42556563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72526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851675" y="3081528"/>
            <a:ext cx="4461110" cy="256032"/>
          </a:xfrm>
          <a:noFill/>
        </p:spPr>
        <p:txBody>
          <a:bodyPr lIns="73120" rIns="73120" anchor="ctr" anchorCtr="1"/>
          <a:lstStyle>
            <a:lvl1pPr>
              <a:buNone/>
              <a:defRPr sz="16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012726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with pic 2 speakers no pic long pres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442" y="3920068"/>
            <a:ext cx="6549800" cy="1008254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000"/>
            </a:lvl1pPr>
          </a:lstStyle>
          <a:p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442" y="5061672"/>
            <a:ext cx="6549800" cy="469516"/>
          </a:xfrm>
        </p:spPr>
        <p:txBody>
          <a:bodyPr anchor="t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i="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sub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443" y="3310371"/>
            <a:ext cx="1285868" cy="523875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7294672" y="4083050"/>
            <a:ext cx="4339019" cy="804672"/>
          </a:xfrm>
        </p:spPr>
        <p:txBody>
          <a:bodyPr anchor="b" anchorCtr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90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7294672" y="5065183"/>
            <a:ext cx="4339019" cy="804672"/>
          </a:xfrm>
        </p:spPr>
        <p:txBody>
          <a:bodyPr anchor="b" anchorCtr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90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88825" cy="275234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Freeform 14"/>
          <p:cNvSpPr>
            <a:spLocks noChangeArrowheads="1"/>
          </p:cNvSpPr>
          <p:nvPr userDrawn="1"/>
        </p:nvSpPr>
        <p:spPr bwMode="gray">
          <a:xfrm rot="16200000" flipH="1">
            <a:off x="11395583" y="-108220"/>
            <a:ext cx="685022" cy="901467"/>
          </a:xfrm>
          <a:custGeom>
            <a:avLst/>
            <a:gdLst>
              <a:gd name="connsiteX0" fmla="*/ 0 w 1119189"/>
              <a:gd name="connsiteY0" fmla="*/ 0 h 1104900"/>
              <a:gd name="connsiteX1" fmla="*/ 0 w 1119189"/>
              <a:gd name="connsiteY1" fmla="*/ 1104900 h 1104900"/>
              <a:gd name="connsiteX2" fmla="*/ 358775 w 1119189"/>
              <a:gd name="connsiteY2" fmla="*/ 1104900 h 1104900"/>
              <a:gd name="connsiteX3" fmla="*/ 358775 w 1119189"/>
              <a:gd name="connsiteY3" fmla="*/ 1104900 h 1104900"/>
              <a:gd name="connsiteX4" fmla="*/ 1119189 w 1119189"/>
              <a:gd name="connsiteY4" fmla="*/ 1104900 h 1104900"/>
              <a:gd name="connsiteX5" fmla="*/ 1119189 w 1119189"/>
              <a:gd name="connsiteY5" fmla="*/ 750888 h 1104900"/>
              <a:gd name="connsiteX6" fmla="*/ 358775 w 1119189"/>
              <a:gd name="connsiteY6" fmla="*/ 750888 h 1104900"/>
              <a:gd name="connsiteX7" fmla="*/ 358775 w 1119189"/>
              <a:gd name="connsiteY7" fmla="*/ 0 h 1104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19189" h="1104900">
                <a:moveTo>
                  <a:pt x="0" y="0"/>
                </a:moveTo>
                <a:lnTo>
                  <a:pt x="0" y="1104900"/>
                </a:lnTo>
                <a:lnTo>
                  <a:pt x="358775" y="1104900"/>
                </a:lnTo>
                <a:lnTo>
                  <a:pt x="358775" y="1104900"/>
                </a:lnTo>
                <a:lnTo>
                  <a:pt x="1119189" y="1104900"/>
                </a:lnTo>
                <a:lnTo>
                  <a:pt x="1119189" y="750888"/>
                </a:lnTo>
                <a:lnTo>
                  <a:pt x="358775" y="750888"/>
                </a:lnTo>
                <a:lnTo>
                  <a:pt x="358775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square" anchor="ctr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914012" eaLnBrk="1" hangingPunct="1">
              <a:defRPr/>
            </a:pPr>
            <a:endParaRPr lang="en-US" altLang="en-US" sz="1800" dirty="0" smtClean="0">
              <a:solidFill>
                <a:srgbClr val="00A4E4"/>
              </a:solidFill>
            </a:endParaRP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4" y="5996941"/>
            <a:ext cx="10969944" cy="438759"/>
          </a:xfrm>
        </p:spPr>
        <p:txBody>
          <a:bodyPr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750" kern="120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 smtClean="0"/>
              <a:t>Text placeholder for disclaimer tex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60936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414">
          <p15:clr>
            <a:srgbClr val="FBAE40"/>
          </p15:clr>
        </p15:guide>
        <p15:guide id="2" orient="horz" pos="359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9785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AIG_PRI_pms2995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444" y="533401"/>
            <a:ext cx="1849485" cy="74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00739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556092" y="2171056"/>
            <a:ext cx="11060200" cy="6771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85000"/>
              <a:buFont typeface="Wingdings" pitchFamily="2" charset="2"/>
              <a:buNone/>
              <a:defRPr sz="4400" b="0">
                <a:solidFill>
                  <a:srgbClr val="0095E5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700740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609865" y="3402016"/>
            <a:ext cx="11062869" cy="439737"/>
          </a:xfrm>
          <a:prstGeom prst="rect">
            <a:avLst/>
          </a:prstGeom>
          <a:ln/>
        </p:spPr>
        <p:txBody>
          <a:bodyPr/>
          <a:lstStyle>
            <a:lvl1pPr>
              <a:lnSpc>
                <a:spcPct val="100000"/>
              </a:lnSpc>
              <a:spcBef>
                <a:spcPct val="15000"/>
              </a:spcBef>
              <a:buClrTx/>
              <a:buNone/>
              <a:defRPr sz="2400" b="0">
                <a:solidFill>
                  <a:srgbClr val="0095E5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08066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logo_white_0-02.eps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631" y="6230941"/>
            <a:ext cx="89723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11360152" y="6338891"/>
            <a:ext cx="350432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7EA2ACF9-C346-4F53-A25C-B168A5F512C5}" type="slidenum">
              <a:rPr lang="en-US" sz="1000" b="1" smtClean="0">
                <a:solidFill>
                  <a:srgbClr val="FFFFFF"/>
                </a:solidFill>
                <a:cs typeface="Arial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b="1" dirty="0" smtClean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3303259" y="6611940"/>
            <a:ext cx="569658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 smtClean="0">
                <a:solidFill>
                  <a:srgbClr val="FFFFFF"/>
                </a:solidFill>
                <a:latin typeface="AIG Futura Medium"/>
                <a:cs typeface="Arial" pitchFamily="34" charset="0"/>
              </a:rPr>
              <a:t>FOR INTERNAL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609441" y="2605284"/>
            <a:ext cx="10969943" cy="61390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600" b="0" i="0" baseline="0">
                <a:solidFill>
                  <a:schemeClr val="bg1"/>
                </a:solidFill>
                <a:latin typeface="AIG Futura Medium"/>
                <a:cs typeface="AIG Futura Medium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609441" y="3461591"/>
            <a:ext cx="10969943" cy="1752600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 sz="2400" b="0" i="0">
                <a:solidFill>
                  <a:schemeClr val="bg1"/>
                </a:solidFill>
                <a:latin typeface="AIG Futura Medium"/>
                <a:cs typeface="AIG Futura Medium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24706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25272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asic - Title and Content with viewfinder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11393025" y="6338888"/>
            <a:ext cx="317558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79D740EC-05F5-4611-BFBA-78F76E66E953}" type="slidenum">
              <a:rPr lang="en-US" altLang="en-US" sz="800">
                <a:solidFill>
                  <a:srgbClr val="000000"/>
                </a:solidFill>
                <a:latin typeface="Arial" panose="020B0604020202020204" pitchFamily="34" charset="0"/>
              </a:rPr>
              <a:pPr algn="r" eaLnBrk="1" hangingPunct="1"/>
              <a:t>‹#›</a:t>
            </a:fld>
            <a:endParaRPr lang="en-US" altLang="en-US" sz="8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pSp>
        <p:nvGrpSpPr>
          <p:cNvPr id="5" name="Group 8"/>
          <p:cNvGrpSpPr>
            <a:grpSpLocks/>
          </p:cNvGrpSpPr>
          <p:nvPr userDrawn="1"/>
        </p:nvGrpSpPr>
        <p:grpSpPr bwMode="auto">
          <a:xfrm flipH="1">
            <a:off x="10208144" y="3"/>
            <a:ext cx="1993381" cy="1514475"/>
            <a:chOff x="1440543" y="1418168"/>
            <a:chExt cx="769056" cy="769056"/>
          </a:xfrm>
        </p:grpSpPr>
        <p:sp>
          <p:nvSpPr>
            <p:cNvPr id="6" name="Rectangle 5"/>
            <p:cNvSpPr/>
            <p:nvPr userDrawn="1"/>
          </p:nvSpPr>
          <p:spPr>
            <a:xfrm rot="5400000">
              <a:off x="1701732" y="1156979"/>
              <a:ext cx="246678" cy="769056"/>
            </a:xfrm>
            <a:prstGeom prst="rect">
              <a:avLst/>
            </a:prstGeom>
            <a:solidFill>
              <a:srgbClr val="0095D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>
                <a:defRPr/>
              </a:pPr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1440543" y="1418168"/>
              <a:ext cx="246555" cy="769056"/>
            </a:xfrm>
            <a:prstGeom prst="rect">
              <a:avLst/>
            </a:prstGeom>
            <a:solidFill>
              <a:srgbClr val="0095D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>
                <a:defRPr/>
              </a:pPr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</p:grpSp>
      <p:sp>
        <p:nvSpPr>
          <p:cNvPr id="8" name="TextBox 7"/>
          <p:cNvSpPr txBox="1">
            <a:spLocks noChangeArrowheads="1"/>
          </p:cNvSpPr>
          <p:nvPr userDrawn="1"/>
        </p:nvSpPr>
        <p:spPr bwMode="auto">
          <a:xfrm>
            <a:off x="3303259" y="6611940"/>
            <a:ext cx="569658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sz="1000" dirty="0" smtClean="0">
                <a:solidFill>
                  <a:srgbClr val="595959"/>
                </a:solidFill>
                <a:latin typeface="AIG Futura Medium"/>
              </a:rPr>
              <a:t>Optional disclaimer area – i.e. FOR INTERNAL PURPOSES ONLY</a:t>
            </a:r>
          </a:p>
        </p:txBody>
      </p:sp>
      <p:pic>
        <p:nvPicPr>
          <p:cNvPr id="9" name="Picture 5" descr="AIG_PRI_pms2995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441" y="6246816"/>
            <a:ext cx="899349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274638"/>
            <a:ext cx="9354439" cy="11430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AIG Futura Medium"/>
                <a:cs typeface="AIG Futura Medium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1" y="1600203"/>
            <a:ext cx="10969943" cy="4525963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AIG Futura Book"/>
                <a:cs typeface="AIG Futura Book"/>
              </a:defRPr>
            </a:lvl1pPr>
            <a:lvl2pPr>
              <a:defRPr sz="1500">
                <a:latin typeface="AIG Futura Book"/>
                <a:cs typeface="AIG Futura Book"/>
              </a:defRPr>
            </a:lvl2pPr>
            <a:lvl3pPr>
              <a:buNone/>
              <a:defRPr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1912158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610172" y="3276134"/>
            <a:ext cx="10995242" cy="1501488"/>
          </a:xfrm>
        </p:spPr>
        <p:txBody>
          <a:bodyPr>
            <a:normAutofit/>
          </a:bodyPr>
          <a:lstStyle>
            <a:lvl1pPr marL="0" marR="0" indent="0" algn="l" defTabSz="4570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 sz="1400" b="0" i="0" baseline="0">
                <a:solidFill>
                  <a:srgbClr val="0095DC"/>
                </a:solidFill>
                <a:latin typeface="AIG Futura Book"/>
                <a:cs typeface="AIG Futura Book"/>
              </a:defRPr>
            </a:lvl1pPr>
            <a:lvl2pPr marL="457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0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0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09442" y="2841631"/>
            <a:ext cx="10995337" cy="303213"/>
          </a:xfrm>
        </p:spPr>
        <p:txBody>
          <a:bodyPr>
            <a:normAutofit/>
          </a:bodyPr>
          <a:lstStyle>
            <a:lvl1pPr>
              <a:defRPr sz="1800">
                <a:solidFill>
                  <a:srgbClr val="0095DC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5" name="Group 8"/>
          <p:cNvGrpSpPr>
            <a:grpSpLocks/>
          </p:cNvGrpSpPr>
          <p:nvPr userDrawn="1"/>
        </p:nvGrpSpPr>
        <p:grpSpPr bwMode="auto">
          <a:xfrm flipH="1">
            <a:off x="10716010" y="1"/>
            <a:ext cx="1472816" cy="1119188"/>
            <a:chOff x="1440543" y="1418168"/>
            <a:chExt cx="769056" cy="769056"/>
          </a:xfrm>
        </p:grpSpPr>
        <p:sp>
          <p:nvSpPr>
            <p:cNvPr id="6" name="Rectangle 11"/>
            <p:cNvSpPr>
              <a:spLocks noChangeArrowheads="1"/>
            </p:cNvSpPr>
            <p:nvPr userDrawn="1"/>
          </p:nvSpPr>
          <p:spPr bwMode="gray">
            <a:xfrm rot="5400000">
              <a:off x="1701732" y="1156979"/>
              <a:ext cx="246678" cy="769056"/>
            </a:xfrm>
            <a:prstGeom prst="rect">
              <a:avLst/>
            </a:prstGeom>
            <a:solidFill>
              <a:srgbClr val="009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defTabSz="914012" eaLnBrk="1" hangingPunct="1"/>
              <a:endParaRPr lang="en-US" altLang="en-US" sz="1800" dirty="0">
                <a:solidFill>
                  <a:srgbClr val="00A4E4"/>
                </a:solidFill>
              </a:endParaRPr>
            </a:p>
          </p:txBody>
        </p:sp>
        <p:sp>
          <p:nvSpPr>
            <p:cNvPr id="8" name="Rectangle 12"/>
            <p:cNvSpPr>
              <a:spLocks noChangeArrowheads="1"/>
            </p:cNvSpPr>
            <p:nvPr userDrawn="1"/>
          </p:nvSpPr>
          <p:spPr bwMode="gray">
            <a:xfrm>
              <a:off x="1440543" y="1418168"/>
              <a:ext cx="246555" cy="769056"/>
            </a:xfrm>
            <a:prstGeom prst="rect">
              <a:avLst/>
            </a:prstGeom>
            <a:solidFill>
              <a:srgbClr val="009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defTabSz="914012" eaLnBrk="1" hangingPunct="1"/>
              <a:endParaRPr lang="en-US" altLang="en-US" sz="1800" dirty="0">
                <a:solidFill>
                  <a:srgbClr val="00A4E4"/>
                </a:solidFill>
              </a:endParaRPr>
            </a:p>
          </p:txBody>
        </p:sp>
      </p:grpSp>
      <p:pic>
        <p:nvPicPr>
          <p:cNvPr id="9" name="Picture 5" descr="AIG_PRI_pms2995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12589" y="685801"/>
            <a:ext cx="1849485" cy="74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13102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2183" y="552453"/>
            <a:ext cx="10724474" cy="30797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732183" y="860425"/>
            <a:ext cx="10724474" cy="387350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sz="1400" kern="0" dirty="0" smtClean="0">
                <a:solidFill>
                  <a:schemeClr val="tx2"/>
                </a:solidFill>
              </a:rPr>
              <a:t>Click to edit Master title style</a:t>
            </a:r>
            <a:endParaRPr lang="en-US" sz="1400" kern="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03275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851675" y="3081528"/>
            <a:ext cx="4461110" cy="256032"/>
          </a:xfrm>
          <a:noFill/>
        </p:spPr>
        <p:txBody>
          <a:bodyPr lIns="73120" rIns="73120" anchor="ctr" anchorCtr="1"/>
          <a:lstStyle>
            <a:lvl1pPr>
              <a:buNone/>
              <a:defRPr sz="16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70952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610172" y="3276134"/>
            <a:ext cx="10995242" cy="1501488"/>
          </a:xfrm>
        </p:spPr>
        <p:txBody>
          <a:bodyPr>
            <a:normAutofit/>
          </a:bodyPr>
          <a:lstStyle>
            <a:lvl1pPr marL="0" marR="0" indent="0" algn="l" defTabSz="4570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 sz="1400" b="0" i="0" baseline="0">
                <a:solidFill>
                  <a:srgbClr val="0095DC"/>
                </a:solidFill>
                <a:latin typeface="AIG Futura Book"/>
                <a:cs typeface="AIG Futura Book"/>
              </a:defRPr>
            </a:lvl1pPr>
            <a:lvl2pPr marL="457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0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0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09442" y="2841631"/>
            <a:ext cx="10995337" cy="303213"/>
          </a:xfrm>
        </p:spPr>
        <p:txBody>
          <a:bodyPr>
            <a:normAutofit/>
          </a:bodyPr>
          <a:lstStyle>
            <a:lvl1pPr>
              <a:defRPr sz="1800">
                <a:solidFill>
                  <a:srgbClr val="0095DC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5" name="Group 8"/>
          <p:cNvGrpSpPr>
            <a:grpSpLocks/>
          </p:cNvGrpSpPr>
          <p:nvPr userDrawn="1"/>
        </p:nvGrpSpPr>
        <p:grpSpPr bwMode="auto">
          <a:xfrm flipH="1">
            <a:off x="10716010" y="1"/>
            <a:ext cx="1472816" cy="1119188"/>
            <a:chOff x="1440543" y="1418168"/>
            <a:chExt cx="769056" cy="769056"/>
          </a:xfrm>
        </p:grpSpPr>
        <p:sp>
          <p:nvSpPr>
            <p:cNvPr id="6" name="Rectangle 11"/>
            <p:cNvSpPr>
              <a:spLocks noChangeArrowheads="1"/>
            </p:cNvSpPr>
            <p:nvPr userDrawn="1"/>
          </p:nvSpPr>
          <p:spPr bwMode="gray">
            <a:xfrm rot="5400000">
              <a:off x="1701732" y="1156979"/>
              <a:ext cx="246678" cy="769056"/>
            </a:xfrm>
            <a:prstGeom prst="rect">
              <a:avLst/>
            </a:prstGeom>
            <a:solidFill>
              <a:srgbClr val="009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defTabSz="914012" eaLnBrk="1" hangingPunct="1"/>
              <a:endParaRPr lang="en-US" altLang="en-US" sz="1800" dirty="0">
                <a:solidFill>
                  <a:srgbClr val="00A4E4"/>
                </a:solidFill>
              </a:endParaRPr>
            </a:p>
          </p:txBody>
        </p:sp>
        <p:sp>
          <p:nvSpPr>
            <p:cNvPr id="8" name="Rectangle 12"/>
            <p:cNvSpPr>
              <a:spLocks noChangeArrowheads="1"/>
            </p:cNvSpPr>
            <p:nvPr userDrawn="1"/>
          </p:nvSpPr>
          <p:spPr bwMode="gray">
            <a:xfrm>
              <a:off x="1440543" y="1418168"/>
              <a:ext cx="246555" cy="769056"/>
            </a:xfrm>
            <a:prstGeom prst="rect">
              <a:avLst/>
            </a:prstGeom>
            <a:solidFill>
              <a:srgbClr val="009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defTabSz="914012" eaLnBrk="1" hangingPunct="1"/>
              <a:endParaRPr lang="en-US" altLang="en-US" sz="1800" dirty="0">
                <a:solidFill>
                  <a:srgbClr val="00A4E4"/>
                </a:solidFill>
              </a:endParaRPr>
            </a:p>
          </p:txBody>
        </p:sp>
      </p:grpSp>
      <p:pic>
        <p:nvPicPr>
          <p:cNvPr id="9" name="Picture 5" descr="AIG_PRI_pms2995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12589" y="685801"/>
            <a:ext cx="1849485" cy="74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329693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44691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851675" y="3081528"/>
            <a:ext cx="4461110" cy="256032"/>
          </a:xfrm>
          <a:noFill/>
        </p:spPr>
        <p:txBody>
          <a:bodyPr lIns="73120" rIns="73120" anchor="ctr" anchorCtr="1"/>
          <a:lstStyle>
            <a:lvl1pPr>
              <a:buNone/>
              <a:defRPr sz="16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35490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851675" y="3081528"/>
            <a:ext cx="4461110" cy="256032"/>
          </a:xfrm>
          <a:noFill/>
        </p:spPr>
        <p:txBody>
          <a:bodyPr lIns="73120" rIns="73120" anchor="ctr" anchorCtr="1"/>
          <a:lstStyle>
            <a:lvl1pPr>
              <a:buNone/>
              <a:defRPr sz="16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75059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with pic 2 speakers no pic long pres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442" y="3920068"/>
            <a:ext cx="6549800" cy="1008254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000"/>
            </a:lvl1pPr>
          </a:lstStyle>
          <a:p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442" y="5061672"/>
            <a:ext cx="6549800" cy="469516"/>
          </a:xfrm>
        </p:spPr>
        <p:txBody>
          <a:bodyPr anchor="t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i="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sub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443" y="3310371"/>
            <a:ext cx="1285868" cy="523875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7294672" y="4083050"/>
            <a:ext cx="4339019" cy="804672"/>
          </a:xfrm>
        </p:spPr>
        <p:txBody>
          <a:bodyPr anchor="b" anchorCtr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90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7294672" y="5065183"/>
            <a:ext cx="4339019" cy="804672"/>
          </a:xfrm>
        </p:spPr>
        <p:txBody>
          <a:bodyPr anchor="b" anchorCtr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90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88825" cy="275234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Freeform 14"/>
          <p:cNvSpPr>
            <a:spLocks noChangeArrowheads="1"/>
          </p:cNvSpPr>
          <p:nvPr userDrawn="1"/>
        </p:nvSpPr>
        <p:spPr bwMode="gray">
          <a:xfrm rot="16200000" flipH="1">
            <a:off x="11395583" y="-108220"/>
            <a:ext cx="685022" cy="901467"/>
          </a:xfrm>
          <a:custGeom>
            <a:avLst/>
            <a:gdLst>
              <a:gd name="connsiteX0" fmla="*/ 0 w 1119189"/>
              <a:gd name="connsiteY0" fmla="*/ 0 h 1104900"/>
              <a:gd name="connsiteX1" fmla="*/ 0 w 1119189"/>
              <a:gd name="connsiteY1" fmla="*/ 1104900 h 1104900"/>
              <a:gd name="connsiteX2" fmla="*/ 358775 w 1119189"/>
              <a:gd name="connsiteY2" fmla="*/ 1104900 h 1104900"/>
              <a:gd name="connsiteX3" fmla="*/ 358775 w 1119189"/>
              <a:gd name="connsiteY3" fmla="*/ 1104900 h 1104900"/>
              <a:gd name="connsiteX4" fmla="*/ 1119189 w 1119189"/>
              <a:gd name="connsiteY4" fmla="*/ 1104900 h 1104900"/>
              <a:gd name="connsiteX5" fmla="*/ 1119189 w 1119189"/>
              <a:gd name="connsiteY5" fmla="*/ 750888 h 1104900"/>
              <a:gd name="connsiteX6" fmla="*/ 358775 w 1119189"/>
              <a:gd name="connsiteY6" fmla="*/ 750888 h 1104900"/>
              <a:gd name="connsiteX7" fmla="*/ 358775 w 1119189"/>
              <a:gd name="connsiteY7" fmla="*/ 0 h 1104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19189" h="1104900">
                <a:moveTo>
                  <a:pt x="0" y="0"/>
                </a:moveTo>
                <a:lnTo>
                  <a:pt x="0" y="1104900"/>
                </a:lnTo>
                <a:lnTo>
                  <a:pt x="358775" y="1104900"/>
                </a:lnTo>
                <a:lnTo>
                  <a:pt x="358775" y="1104900"/>
                </a:lnTo>
                <a:lnTo>
                  <a:pt x="1119189" y="1104900"/>
                </a:lnTo>
                <a:lnTo>
                  <a:pt x="1119189" y="750888"/>
                </a:lnTo>
                <a:lnTo>
                  <a:pt x="358775" y="750888"/>
                </a:lnTo>
                <a:lnTo>
                  <a:pt x="358775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square" anchor="ctr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914012" eaLnBrk="1" hangingPunct="1">
              <a:defRPr/>
            </a:pPr>
            <a:endParaRPr lang="en-US" altLang="en-US" sz="1800" dirty="0" smtClean="0">
              <a:solidFill>
                <a:srgbClr val="00A4E4"/>
              </a:solidFill>
            </a:endParaRP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4" y="5996941"/>
            <a:ext cx="10969944" cy="438759"/>
          </a:xfrm>
        </p:spPr>
        <p:txBody>
          <a:bodyPr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750" kern="120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 smtClean="0"/>
              <a:t>Text placeholder for disclaimer tex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65512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414">
          <p15:clr>
            <a:srgbClr val="FBAE40"/>
          </p15:clr>
        </p15:guide>
        <p15:guide id="2" orient="horz" pos="3592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2183" y="552453"/>
            <a:ext cx="10724474" cy="30797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732183" y="860425"/>
            <a:ext cx="10724474" cy="387350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sz="1400" kern="0" dirty="0" smtClean="0">
                <a:solidFill>
                  <a:schemeClr val="tx2"/>
                </a:solidFill>
              </a:rPr>
              <a:t>Click to edit Master title style</a:t>
            </a:r>
            <a:endParaRPr lang="en-US" sz="1400" kern="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20872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2183" y="552453"/>
            <a:ext cx="10724474" cy="30797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732183" y="860425"/>
            <a:ext cx="10724474" cy="387350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sz="1400" kern="0" dirty="0" smtClean="0">
                <a:solidFill>
                  <a:schemeClr val="tx2"/>
                </a:solidFill>
              </a:rPr>
              <a:t>Click to edit Master title style</a:t>
            </a:r>
            <a:endParaRPr lang="en-US" sz="1400" kern="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14353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2183" y="552453"/>
            <a:ext cx="10724474" cy="30797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732183" y="860425"/>
            <a:ext cx="10724474" cy="387350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sz="1400" kern="0" dirty="0" smtClean="0">
                <a:solidFill>
                  <a:schemeClr val="tx2"/>
                </a:solidFill>
              </a:rPr>
              <a:t>Click to edit Master title style</a:t>
            </a:r>
            <a:endParaRPr lang="en-US" sz="1400" kern="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40019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2183" y="552453"/>
            <a:ext cx="10724474" cy="30797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732183" y="860425"/>
            <a:ext cx="10724474" cy="387350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sz="1400" kern="0" dirty="0" smtClean="0">
                <a:solidFill>
                  <a:schemeClr val="tx2"/>
                </a:solidFill>
              </a:rPr>
              <a:t>Click to edit Master title style</a:t>
            </a:r>
            <a:endParaRPr lang="en-US" sz="1400" kern="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64010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610172" y="3276134"/>
            <a:ext cx="10995242" cy="1501488"/>
          </a:xfrm>
        </p:spPr>
        <p:txBody>
          <a:bodyPr>
            <a:normAutofit/>
          </a:bodyPr>
          <a:lstStyle>
            <a:lvl1pPr marL="0" marR="0" indent="0" algn="l" defTabSz="4570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 sz="1400" b="0" i="0" baseline="0">
                <a:solidFill>
                  <a:srgbClr val="0095DC"/>
                </a:solidFill>
                <a:latin typeface="AIG Futura Book"/>
                <a:cs typeface="AIG Futura Book"/>
              </a:defRPr>
            </a:lvl1pPr>
            <a:lvl2pPr marL="457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0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0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09442" y="2841631"/>
            <a:ext cx="10995337" cy="303213"/>
          </a:xfrm>
        </p:spPr>
        <p:txBody>
          <a:bodyPr>
            <a:normAutofit/>
          </a:bodyPr>
          <a:lstStyle>
            <a:lvl1pPr>
              <a:defRPr sz="1800">
                <a:solidFill>
                  <a:srgbClr val="0095DC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5" name="Group 8"/>
          <p:cNvGrpSpPr>
            <a:grpSpLocks/>
          </p:cNvGrpSpPr>
          <p:nvPr userDrawn="1"/>
        </p:nvGrpSpPr>
        <p:grpSpPr bwMode="auto">
          <a:xfrm flipH="1">
            <a:off x="10716010" y="1"/>
            <a:ext cx="1472816" cy="1119188"/>
            <a:chOff x="1440543" y="1418168"/>
            <a:chExt cx="769056" cy="769056"/>
          </a:xfrm>
        </p:grpSpPr>
        <p:sp>
          <p:nvSpPr>
            <p:cNvPr id="6" name="Rectangle 11"/>
            <p:cNvSpPr>
              <a:spLocks noChangeArrowheads="1"/>
            </p:cNvSpPr>
            <p:nvPr userDrawn="1"/>
          </p:nvSpPr>
          <p:spPr bwMode="gray">
            <a:xfrm rot="5400000">
              <a:off x="1701732" y="1156979"/>
              <a:ext cx="246678" cy="769056"/>
            </a:xfrm>
            <a:prstGeom prst="rect">
              <a:avLst/>
            </a:prstGeom>
            <a:solidFill>
              <a:srgbClr val="009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defTabSz="914012" eaLnBrk="1" hangingPunct="1"/>
              <a:endParaRPr lang="en-US" altLang="en-US" sz="1800" dirty="0">
                <a:solidFill>
                  <a:srgbClr val="00A4E4"/>
                </a:solidFill>
              </a:endParaRPr>
            </a:p>
          </p:txBody>
        </p:sp>
        <p:sp>
          <p:nvSpPr>
            <p:cNvPr id="8" name="Rectangle 12"/>
            <p:cNvSpPr>
              <a:spLocks noChangeArrowheads="1"/>
            </p:cNvSpPr>
            <p:nvPr userDrawn="1"/>
          </p:nvSpPr>
          <p:spPr bwMode="gray">
            <a:xfrm>
              <a:off x="1440543" y="1418168"/>
              <a:ext cx="246555" cy="769056"/>
            </a:xfrm>
            <a:prstGeom prst="rect">
              <a:avLst/>
            </a:prstGeom>
            <a:solidFill>
              <a:srgbClr val="009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defTabSz="914012" eaLnBrk="1" hangingPunct="1"/>
              <a:endParaRPr lang="en-US" altLang="en-US" sz="1800" dirty="0">
                <a:solidFill>
                  <a:srgbClr val="00A4E4"/>
                </a:solidFill>
              </a:endParaRPr>
            </a:p>
          </p:txBody>
        </p:sp>
      </p:grpSp>
      <p:pic>
        <p:nvPicPr>
          <p:cNvPr id="9" name="Picture 5" descr="AIG_PRI_pms2995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12589" y="685801"/>
            <a:ext cx="1849485" cy="74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038581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9719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851675" y="3081528"/>
            <a:ext cx="4461110" cy="256032"/>
          </a:xfrm>
          <a:noFill/>
        </p:spPr>
        <p:txBody>
          <a:bodyPr lIns="73120" rIns="73120" anchor="ctr" anchorCtr="1"/>
          <a:lstStyle>
            <a:lvl1pPr>
              <a:buNone/>
              <a:defRPr sz="16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4733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with pic 2 speakers no pic long pres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442" y="3920068"/>
            <a:ext cx="6549800" cy="1008254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000"/>
            </a:lvl1pPr>
          </a:lstStyle>
          <a:p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442" y="5061672"/>
            <a:ext cx="6549800" cy="469516"/>
          </a:xfrm>
        </p:spPr>
        <p:txBody>
          <a:bodyPr anchor="t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i="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sub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443" y="3310371"/>
            <a:ext cx="1285868" cy="523875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7294672" y="4083050"/>
            <a:ext cx="4339019" cy="804672"/>
          </a:xfrm>
        </p:spPr>
        <p:txBody>
          <a:bodyPr anchor="b" anchorCtr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90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7294672" y="5065183"/>
            <a:ext cx="4339019" cy="804672"/>
          </a:xfrm>
        </p:spPr>
        <p:txBody>
          <a:bodyPr anchor="b" anchorCtr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90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88825" cy="275234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Freeform 14"/>
          <p:cNvSpPr>
            <a:spLocks noChangeArrowheads="1"/>
          </p:cNvSpPr>
          <p:nvPr userDrawn="1"/>
        </p:nvSpPr>
        <p:spPr bwMode="gray">
          <a:xfrm rot="16200000" flipH="1">
            <a:off x="11395583" y="-108220"/>
            <a:ext cx="685022" cy="901467"/>
          </a:xfrm>
          <a:custGeom>
            <a:avLst/>
            <a:gdLst>
              <a:gd name="connsiteX0" fmla="*/ 0 w 1119189"/>
              <a:gd name="connsiteY0" fmla="*/ 0 h 1104900"/>
              <a:gd name="connsiteX1" fmla="*/ 0 w 1119189"/>
              <a:gd name="connsiteY1" fmla="*/ 1104900 h 1104900"/>
              <a:gd name="connsiteX2" fmla="*/ 358775 w 1119189"/>
              <a:gd name="connsiteY2" fmla="*/ 1104900 h 1104900"/>
              <a:gd name="connsiteX3" fmla="*/ 358775 w 1119189"/>
              <a:gd name="connsiteY3" fmla="*/ 1104900 h 1104900"/>
              <a:gd name="connsiteX4" fmla="*/ 1119189 w 1119189"/>
              <a:gd name="connsiteY4" fmla="*/ 1104900 h 1104900"/>
              <a:gd name="connsiteX5" fmla="*/ 1119189 w 1119189"/>
              <a:gd name="connsiteY5" fmla="*/ 750888 h 1104900"/>
              <a:gd name="connsiteX6" fmla="*/ 358775 w 1119189"/>
              <a:gd name="connsiteY6" fmla="*/ 750888 h 1104900"/>
              <a:gd name="connsiteX7" fmla="*/ 358775 w 1119189"/>
              <a:gd name="connsiteY7" fmla="*/ 0 h 1104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19189" h="1104900">
                <a:moveTo>
                  <a:pt x="0" y="0"/>
                </a:moveTo>
                <a:lnTo>
                  <a:pt x="0" y="1104900"/>
                </a:lnTo>
                <a:lnTo>
                  <a:pt x="358775" y="1104900"/>
                </a:lnTo>
                <a:lnTo>
                  <a:pt x="358775" y="1104900"/>
                </a:lnTo>
                <a:lnTo>
                  <a:pt x="1119189" y="1104900"/>
                </a:lnTo>
                <a:lnTo>
                  <a:pt x="1119189" y="750888"/>
                </a:lnTo>
                <a:lnTo>
                  <a:pt x="358775" y="750888"/>
                </a:lnTo>
                <a:lnTo>
                  <a:pt x="358775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square" anchor="ctr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914012" eaLnBrk="1" hangingPunct="1">
              <a:defRPr/>
            </a:pPr>
            <a:endParaRPr lang="en-US" altLang="en-US" sz="1800" dirty="0" smtClean="0">
              <a:solidFill>
                <a:srgbClr val="00A4E4"/>
              </a:solidFill>
            </a:endParaRP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4" y="5996941"/>
            <a:ext cx="10969944" cy="438759"/>
          </a:xfrm>
        </p:spPr>
        <p:txBody>
          <a:bodyPr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750" kern="120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 smtClean="0"/>
              <a:t>Text placeholder for disclaimer tex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23521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414">
          <p15:clr>
            <a:srgbClr val="FBAE40"/>
          </p15:clr>
        </p15:guide>
        <p15:guide id="2" orient="horz" pos="359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2183" y="552453"/>
            <a:ext cx="10724474" cy="30797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732183" y="860425"/>
            <a:ext cx="10724474" cy="387350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sz="1400" kern="0" dirty="0" smtClean="0">
                <a:solidFill>
                  <a:schemeClr val="tx2"/>
                </a:solidFill>
              </a:rPr>
              <a:t>Click to edit Master title style</a:t>
            </a:r>
            <a:endParaRPr lang="en-US" sz="1400" kern="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0998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610172" y="3276134"/>
            <a:ext cx="10995242" cy="1501488"/>
          </a:xfrm>
        </p:spPr>
        <p:txBody>
          <a:bodyPr>
            <a:normAutofit/>
          </a:bodyPr>
          <a:lstStyle>
            <a:lvl1pPr marL="0" marR="0" indent="0" algn="l" defTabSz="4570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 sz="1400" b="0" i="0" baseline="0">
                <a:solidFill>
                  <a:srgbClr val="0095DC"/>
                </a:solidFill>
                <a:latin typeface="AIG Futura Book"/>
                <a:cs typeface="AIG Futura Book"/>
              </a:defRPr>
            </a:lvl1pPr>
            <a:lvl2pPr marL="457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0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0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09442" y="2841631"/>
            <a:ext cx="10995337" cy="303213"/>
          </a:xfrm>
        </p:spPr>
        <p:txBody>
          <a:bodyPr>
            <a:normAutofit/>
          </a:bodyPr>
          <a:lstStyle>
            <a:lvl1pPr>
              <a:defRPr sz="1800">
                <a:solidFill>
                  <a:srgbClr val="0095DC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5" name="Group 8"/>
          <p:cNvGrpSpPr>
            <a:grpSpLocks/>
          </p:cNvGrpSpPr>
          <p:nvPr userDrawn="1"/>
        </p:nvGrpSpPr>
        <p:grpSpPr bwMode="auto">
          <a:xfrm flipH="1">
            <a:off x="10716010" y="1"/>
            <a:ext cx="1472816" cy="1119188"/>
            <a:chOff x="1440543" y="1418168"/>
            <a:chExt cx="769056" cy="769056"/>
          </a:xfrm>
        </p:grpSpPr>
        <p:sp>
          <p:nvSpPr>
            <p:cNvPr id="6" name="Rectangle 11"/>
            <p:cNvSpPr>
              <a:spLocks noChangeArrowheads="1"/>
            </p:cNvSpPr>
            <p:nvPr userDrawn="1"/>
          </p:nvSpPr>
          <p:spPr bwMode="gray">
            <a:xfrm rot="5400000">
              <a:off x="1701732" y="1156979"/>
              <a:ext cx="246678" cy="769056"/>
            </a:xfrm>
            <a:prstGeom prst="rect">
              <a:avLst/>
            </a:prstGeom>
            <a:solidFill>
              <a:srgbClr val="009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defTabSz="914012" eaLnBrk="1" hangingPunct="1"/>
              <a:endParaRPr lang="en-US" altLang="en-US" sz="1800" dirty="0">
                <a:solidFill>
                  <a:srgbClr val="00A4E4"/>
                </a:solidFill>
              </a:endParaRPr>
            </a:p>
          </p:txBody>
        </p:sp>
        <p:sp>
          <p:nvSpPr>
            <p:cNvPr id="8" name="Rectangle 12"/>
            <p:cNvSpPr>
              <a:spLocks noChangeArrowheads="1"/>
            </p:cNvSpPr>
            <p:nvPr userDrawn="1"/>
          </p:nvSpPr>
          <p:spPr bwMode="gray">
            <a:xfrm>
              <a:off x="1440543" y="1418168"/>
              <a:ext cx="246555" cy="769056"/>
            </a:xfrm>
            <a:prstGeom prst="rect">
              <a:avLst/>
            </a:prstGeom>
            <a:solidFill>
              <a:srgbClr val="009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defTabSz="914012" eaLnBrk="1" hangingPunct="1"/>
              <a:endParaRPr lang="en-US" altLang="en-US" sz="1800" dirty="0">
                <a:solidFill>
                  <a:srgbClr val="00A4E4"/>
                </a:solidFill>
              </a:endParaRPr>
            </a:p>
          </p:txBody>
        </p:sp>
      </p:grpSp>
      <p:pic>
        <p:nvPicPr>
          <p:cNvPr id="9" name="Picture 5" descr="AIG_PRI_pms2995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12589" y="685801"/>
            <a:ext cx="1849485" cy="74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359992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2183" y="552453"/>
            <a:ext cx="10724474" cy="30797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732183" y="860425"/>
            <a:ext cx="10724474" cy="387350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sz="1400" kern="0" dirty="0" smtClean="0">
                <a:solidFill>
                  <a:schemeClr val="tx2"/>
                </a:solidFill>
              </a:rPr>
              <a:t>Click to edit Master title style</a:t>
            </a:r>
            <a:endParaRPr lang="en-US" sz="1400" kern="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44726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2183" y="552453"/>
            <a:ext cx="10724474" cy="30797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732183" y="860425"/>
            <a:ext cx="10724474" cy="387350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sz="1400" kern="0" dirty="0" smtClean="0">
                <a:solidFill>
                  <a:schemeClr val="tx2"/>
                </a:solidFill>
              </a:rPr>
              <a:t>Click to edit Master title style</a:t>
            </a:r>
            <a:endParaRPr lang="en-US" sz="1400" kern="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08206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2183" y="552453"/>
            <a:ext cx="10724474" cy="30797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732183" y="860425"/>
            <a:ext cx="10724474" cy="387350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sz="1400" kern="0" dirty="0" smtClean="0">
                <a:solidFill>
                  <a:schemeClr val="tx2"/>
                </a:solidFill>
              </a:rPr>
              <a:t>Click to edit Master title style</a:t>
            </a:r>
            <a:endParaRPr lang="en-US" sz="1400" kern="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88662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610172" y="3276134"/>
            <a:ext cx="10995242" cy="1501488"/>
          </a:xfrm>
        </p:spPr>
        <p:txBody>
          <a:bodyPr>
            <a:normAutofit/>
          </a:bodyPr>
          <a:lstStyle>
            <a:lvl1pPr marL="0" marR="0" indent="0" algn="l" defTabSz="4570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 sz="1400" b="0" i="0" baseline="0">
                <a:solidFill>
                  <a:srgbClr val="0095DC"/>
                </a:solidFill>
                <a:latin typeface="AIG Futura Book"/>
                <a:cs typeface="AIG Futura Book"/>
              </a:defRPr>
            </a:lvl1pPr>
            <a:lvl2pPr marL="457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0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0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09442" y="2841631"/>
            <a:ext cx="10995337" cy="303213"/>
          </a:xfrm>
        </p:spPr>
        <p:txBody>
          <a:bodyPr>
            <a:normAutofit/>
          </a:bodyPr>
          <a:lstStyle>
            <a:lvl1pPr>
              <a:defRPr sz="1800">
                <a:solidFill>
                  <a:srgbClr val="0095DC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5" name="Group 8"/>
          <p:cNvGrpSpPr>
            <a:grpSpLocks/>
          </p:cNvGrpSpPr>
          <p:nvPr userDrawn="1"/>
        </p:nvGrpSpPr>
        <p:grpSpPr bwMode="auto">
          <a:xfrm flipH="1">
            <a:off x="10716010" y="1"/>
            <a:ext cx="1472816" cy="1119188"/>
            <a:chOff x="1440543" y="1418168"/>
            <a:chExt cx="769056" cy="769056"/>
          </a:xfrm>
        </p:grpSpPr>
        <p:sp>
          <p:nvSpPr>
            <p:cNvPr id="6" name="Rectangle 11"/>
            <p:cNvSpPr>
              <a:spLocks noChangeArrowheads="1"/>
            </p:cNvSpPr>
            <p:nvPr userDrawn="1"/>
          </p:nvSpPr>
          <p:spPr bwMode="gray">
            <a:xfrm rot="5400000">
              <a:off x="1701732" y="1156979"/>
              <a:ext cx="246678" cy="769056"/>
            </a:xfrm>
            <a:prstGeom prst="rect">
              <a:avLst/>
            </a:prstGeom>
            <a:solidFill>
              <a:srgbClr val="009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defTabSz="914012" eaLnBrk="1" hangingPunct="1"/>
              <a:endParaRPr lang="en-US" altLang="en-US" sz="1800" dirty="0">
                <a:solidFill>
                  <a:srgbClr val="00A4E4"/>
                </a:solidFill>
              </a:endParaRPr>
            </a:p>
          </p:txBody>
        </p:sp>
        <p:sp>
          <p:nvSpPr>
            <p:cNvPr id="8" name="Rectangle 12"/>
            <p:cNvSpPr>
              <a:spLocks noChangeArrowheads="1"/>
            </p:cNvSpPr>
            <p:nvPr userDrawn="1"/>
          </p:nvSpPr>
          <p:spPr bwMode="gray">
            <a:xfrm>
              <a:off x="1440543" y="1418168"/>
              <a:ext cx="246555" cy="769056"/>
            </a:xfrm>
            <a:prstGeom prst="rect">
              <a:avLst/>
            </a:prstGeom>
            <a:solidFill>
              <a:srgbClr val="009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defTabSz="914012" eaLnBrk="1" hangingPunct="1"/>
              <a:endParaRPr lang="en-US" altLang="en-US" sz="1800" dirty="0">
                <a:solidFill>
                  <a:srgbClr val="00A4E4"/>
                </a:solidFill>
              </a:endParaRPr>
            </a:p>
          </p:txBody>
        </p:sp>
      </p:grpSp>
      <p:pic>
        <p:nvPicPr>
          <p:cNvPr id="9" name="Picture 5" descr="AIG_PRI_pms2995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12589" y="685801"/>
            <a:ext cx="1849485" cy="74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58439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68905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851675" y="3081528"/>
            <a:ext cx="4461110" cy="256032"/>
          </a:xfrm>
          <a:noFill/>
        </p:spPr>
        <p:txBody>
          <a:bodyPr lIns="73120" rIns="73120" anchor="ctr" anchorCtr="1"/>
          <a:lstStyle>
            <a:lvl1pPr>
              <a:buNone/>
              <a:defRPr sz="16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08550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with pic 2 speakers no pic long pres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442" y="3920068"/>
            <a:ext cx="6549800" cy="1008254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000"/>
            </a:lvl1pPr>
          </a:lstStyle>
          <a:p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442" y="5061672"/>
            <a:ext cx="6549800" cy="469516"/>
          </a:xfrm>
        </p:spPr>
        <p:txBody>
          <a:bodyPr anchor="t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i="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sub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443" y="3310371"/>
            <a:ext cx="1285868" cy="523875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7294672" y="4083050"/>
            <a:ext cx="4339019" cy="804672"/>
          </a:xfrm>
        </p:spPr>
        <p:txBody>
          <a:bodyPr anchor="b" anchorCtr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90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7294672" y="5065183"/>
            <a:ext cx="4339019" cy="804672"/>
          </a:xfrm>
        </p:spPr>
        <p:txBody>
          <a:bodyPr anchor="b" anchorCtr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90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88825" cy="275234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Freeform 14"/>
          <p:cNvSpPr>
            <a:spLocks noChangeArrowheads="1"/>
          </p:cNvSpPr>
          <p:nvPr userDrawn="1"/>
        </p:nvSpPr>
        <p:spPr bwMode="gray">
          <a:xfrm rot="16200000" flipH="1">
            <a:off x="11395583" y="-108220"/>
            <a:ext cx="685022" cy="901467"/>
          </a:xfrm>
          <a:custGeom>
            <a:avLst/>
            <a:gdLst>
              <a:gd name="connsiteX0" fmla="*/ 0 w 1119189"/>
              <a:gd name="connsiteY0" fmla="*/ 0 h 1104900"/>
              <a:gd name="connsiteX1" fmla="*/ 0 w 1119189"/>
              <a:gd name="connsiteY1" fmla="*/ 1104900 h 1104900"/>
              <a:gd name="connsiteX2" fmla="*/ 358775 w 1119189"/>
              <a:gd name="connsiteY2" fmla="*/ 1104900 h 1104900"/>
              <a:gd name="connsiteX3" fmla="*/ 358775 w 1119189"/>
              <a:gd name="connsiteY3" fmla="*/ 1104900 h 1104900"/>
              <a:gd name="connsiteX4" fmla="*/ 1119189 w 1119189"/>
              <a:gd name="connsiteY4" fmla="*/ 1104900 h 1104900"/>
              <a:gd name="connsiteX5" fmla="*/ 1119189 w 1119189"/>
              <a:gd name="connsiteY5" fmla="*/ 750888 h 1104900"/>
              <a:gd name="connsiteX6" fmla="*/ 358775 w 1119189"/>
              <a:gd name="connsiteY6" fmla="*/ 750888 h 1104900"/>
              <a:gd name="connsiteX7" fmla="*/ 358775 w 1119189"/>
              <a:gd name="connsiteY7" fmla="*/ 0 h 1104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19189" h="1104900">
                <a:moveTo>
                  <a:pt x="0" y="0"/>
                </a:moveTo>
                <a:lnTo>
                  <a:pt x="0" y="1104900"/>
                </a:lnTo>
                <a:lnTo>
                  <a:pt x="358775" y="1104900"/>
                </a:lnTo>
                <a:lnTo>
                  <a:pt x="358775" y="1104900"/>
                </a:lnTo>
                <a:lnTo>
                  <a:pt x="1119189" y="1104900"/>
                </a:lnTo>
                <a:lnTo>
                  <a:pt x="1119189" y="750888"/>
                </a:lnTo>
                <a:lnTo>
                  <a:pt x="358775" y="750888"/>
                </a:lnTo>
                <a:lnTo>
                  <a:pt x="358775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square" anchor="ctr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914012" eaLnBrk="1" hangingPunct="1">
              <a:defRPr/>
            </a:pPr>
            <a:endParaRPr lang="en-US" altLang="en-US" sz="1800" dirty="0" smtClean="0">
              <a:solidFill>
                <a:srgbClr val="00A4E4"/>
              </a:solidFill>
            </a:endParaRP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4" y="5996941"/>
            <a:ext cx="10969944" cy="438759"/>
          </a:xfrm>
        </p:spPr>
        <p:txBody>
          <a:bodyPr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750" kern="120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 smtClean="0"/>
              <a:t>Text placeholder for disclaimer tex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4443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414">
          <p15:clr>
            <a:srgbClr val="FBAE40"/>
          </p15:clr>
        </p15:guide>
        <p15:guide id="2" orient="horz" pos="3592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610172" y="3276134"/>
            <a:ext cx="10995242" cy="1501488"/>
          </a:xfrm>
        </p:spPr>
        <p:txBody>
          <a:bodyPr>
            <a:normAutofit/>
          </a:bodyPr>
          <a:lstStyle>
            <a:lvl1pPr marL="0" marR="0" indent="0" algn="l" defTabSz="4570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 sz="1400" b="0" i="0" baseline="0">
                <a:solidFill>
                  <a:srgbClr val="0095DC"/>
                </a:solidFill>
                <a:latin typeface="AIG Futura Book"/>
                <a:cs typeface="AIG Futura Book"/>
              </a:defRPr>
            </a:lvl1pPr>
            <a:lvl2pPr marL="457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0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0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09442" y="2841631"/>
            <a:ext cx="10995337" cy="303213"/>
          </a:xfrm>
        </p:spPr>
        <p:txBody>
          <a:bodyPr>
            <a:normAutofit/>
          </a:bodyPr>
          <a:lstStyle>
            <a:lvl1pPr>
              <a:defRPr sz="1800">
                <a:solidFill>
                  <a:srgbClr val="0095DC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5" name="Group 8"/>
          <p:cNvGrpSpPr>
            <a:grpSpLocks/>
          </p:cNvGrpSpPr>
          <p:nvPr userDrawn="1"/>
        </p:nvGrpSpPr>
        <p:grpSpPr bwMode="auto">
          <a:xfrm flipH="1">
            <a:off x="10716010" y="1"/>
            <a:ext cx="1472816" cy="1119188"/>
            <a:chOff x="1440543" y="1418168"/>
            <a:chExt cx="769056" cy="769056"/>
          </a:xfrm>
        </p:grpSpPr>
        <p:sp>
          <p:nvSpPr>
            <p:cNvPr id="6" name="Rectangle 11"/>
            <p:cNvSpPr>
              <a:spLocks noChangeArrowheads="1"/>
            </p:cNvSpPr>
            <p:nvPr userDrawn="1"/>
          </p:nvSpPr>
          <p:spPr bwMode="gray">
            <a:xfrm rot="5400000">
              <a:off x="1701732" y="1156979"/>
              <a:ext cx="246678" cy="769056"/>
            </a:xfrm>
            <a:prstGeom prst="rect">
              <a:avLst/>
            </a:prstGeom>
            <a:solidFill>
              <a:srgbClr val="009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defTabSz="914012" eaLnBrk="1" hangingPunct="1"/>
              <a:endParaRPr lang="en-US" altLang="en-US" sz="1800" dirty="0">
                <a:solidFill>
                  <a:srgbClr val="00A4E4"/>
                </a:solidFill>
              </a:endParaRPr>
            </a:p>
          </p:txBody>
        </p:sp>
        <p:sp>
          <p:nvSpPr>
            <p:cNvPr id="8" name="Rectangle 12"/>
            <p:cNvSpPr>
              <a:spLocks noChangeArrowheads="1"/>
            </p:cNvSpPr>
            <p:nvPr userDrawn="1"/>
          </p:nvSpPr>
          <p:spPr bwMode="gray">
            <a:xfrm>
              <a:off x="1440543" y="1418168"/>
              <a:ext cx="246555" cy="769056"/>
            </a:xfrm>
            <a:prstGeom prst="rect">
              <a:avLst/>
            </a:prstGeom>
            <a:solidFill>
              <a:srgbClr val="009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defTabSz="914012" eaLnBrk="1" hangingPunct="1"/>
              <a:endParaRPr lang="en-US" altLang="en-US" sz="1800" dirty="0">
                <a:solidFill>
                  <a:srgbClr val="00A4E4"/>
                </a:solidFill>
              </a:endParaRPr>
            </a:p>
          </p:txBody>
        </p:sp>
      </p:grpSp>
      <p:pic>
        <p:nvPicPr>
          <p:cNvPr id="9" name="Picture 5" descr="AIG_PRI_pms2995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12589" y="685801"/>
            <a:ext cx="1849485" cy="74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200799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11022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851675" y="3081528"/>
            <a:ext cx="4461110" cy="256032"/>
          </a:xfrm>
          <a:noFill/>
        </p:spPr>
        <p:txBody>
          <a:bodyPr lIns="73120" rIns="73120" anchor="ctr" anchorCtr="1"/>
          <a:lstStyle>
            <a:lvl1pPr>
              <a:buNone/>
              <a:defRPr sz="16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20864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46133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with pic 2 speakers no pic long pres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442" y="3920068"/>
            <a:ext cx="6549800" cy="1008254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000"/>
            </a:lvl1pPr>
          </a:lstStyle>
          <a:p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442" y="5061672"/>
            <a:ext cx="6549800" cy="469516"/>
          </a:xfrm>
        </p:spPr>
        <p:txBody>
          <a:bodyPr anchor="t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i="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sub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443" y="3310371"/>
            <a:ext cx="1285868" cy="523875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7294672" y="4083050"/>
            <a:ext cx="4339019" cy="804672"/>
          </a:xfrm>
        </p:spPr>
        <p:txBody>
          <a:bodyPr anchor="b" anchorCtr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90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7294672" y="5065183"/>
            <a:ext cx="4339019" cy="804672"/>
          </a:xfrm>
        </p:spPr>
        <p:txBody>
          <a:bodyPr anchor="b" anchorCtr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90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88825" cy="275234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Freeform 14"/>
          <p:cNvSpPr>
            <a:spLocks noChangeArrowheads="1"/>
          </p:cNvSpPr>
          <p:nvPr userDrawn="1"/>
        </p:nvSpPr>
        <p:spPr bwMode="gray">
          <a:xfrm rot="16200000" flipH="1">
            <a:off x="11395583" y="-108220"/>
            <a:ext cx="685022" cy="901467"/>
          </a:xfrm>
          <a:custGeom>
            <a:avLst/>
            <a:gdLst>
              <a:gd name="connsiteX0" fmla="*/ 0 w 1119189"/>
              <a:gd name="connsiteY0" fmla="*/ 0 h 1104900"/>
              <a:gd name="connsiteX1" fmla="*/ 0 w 1119189"/>
              <a:gd name="connsiteY1" fmla="*/ 1104900 h 1104900"/>
              <a:gd name="connsiteX2" fmla="*/ 358775 w 1119189"/>
              <a:gd name="connsiteY2" fmla="*/ 1104900 h 1104900"/>
              <a:gd name="connsiteX3" fmla="*/ 358775 w 1119189"/>
              <a:gd name="connsiteY3" fmla="*/ 1104900 h 1104900"/>
              <a:gd name="connsiteX4" fmla="*/ 1119189 w 1119189"/>
              <a:gd name="connsiteY4" fmla="*/ 1104900 h 1104900"/>
              <a:gd name="connsiteX5" fmla="*/ 1119189 w 1119189"/>
              <a:gd name="connsiteY5" fmla="*/ 750888 h 1104900"/>
              <a:gd name="connsiteX6" fmla="*/ 358775 w 1119189"/>
              <a:gd name="connsiteY6" fmla="*/ 750888 h 1104900"/>
              <a:gd name="connsiteX7" fmla="*/ 358775 w 1119189"/>
              <a:gd name="connsiteY7" fmla="*/ 0 h 1104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19189" h="1104900">
                <a:moveTo>
                  <a:pt x="0" y="0"/>
                </a:moveTo>
                <a:lnTo>
                  <a:pt x="0" y="1104900"/>
                </a:lnTo>
                <a:lnTo>
                  <a:pt x="358775" y="1104900"/>
                </a:lnTo>
                <a:lnTo>
                  <a:pt x="358775" y="1104900"/>
                </a:lnTo>
                <a:lnTo>
                  <a:pt x="1119189" y="1104900"/>
                </a:lnTo>
                <a:lnTo>
                  <a:pt x="1119189" y="750888"/>
                </a:lnTo>
                <a:lnTo>
                  <a:pt x="358775" y="750888"/>
                </a:lnTo>
                <a:lnTo>
                  <a:pt x="358775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square" anchor="ctr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914012" eaLnBrk="1" hangingPunct="1">
              <a:defRPr/>
            </a:pPr>
            <a:endParaRPr lang="en-US" altLang="en-US" sz="1800" dirty="0" smtClean="0">
              <a:solidFill>
                <a:srgbClr val="00A4E4"/>
              </a:solidFill>
            </a:endParaRP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4" y="5996941"/>
            <a:ext cx="10969944" cy="438759"/>
          </a:xfrm>
        </p:spPr>
        <p:txBody>
          <a:bodyPr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750" kern="120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 smtClean="0"/>
              <a:t>Text placeholder for disclaimer tex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37342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414">
          <p15:clr>
            <a:srgbClr val="FBAE40"/>
          </p15:clr>
        </p15:guide>
        <p15:guide id="2" orient="horz" pos="3592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Column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533262" y="1009654"/>
            <a:ext cx="11122303" cy="5200649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20566" y="514353"/>
            <a:ext cx="11135000" cy="258763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70576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610172" y="3276134"/>
            <a:ext cx="10995242" cy="1501488"/>
          </a:xfrm>
        </p:spPr>
        <p:txBody>
          <a:bodyPr>
            <a:normAutofit/>
          </a:bodyPr>
          <a:lstStyle>
            <a:lvl1pPr marL="0" marR="0" indent="0" algn="l" defTabSz="4570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 sz="1400" b="0" i="0" baseline="0">
                <a:solidFill>
                  <a:srgbClr val="0095DC"/>
                </a:solidFill>
                <a:latin typeface="AIG Futura Book"/>
                <a:cs typeface="AIG Futura Book"/>
              </a:defRPr>
            </a:lvl1pPr>
            <a:lvl2pPr marL="457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0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0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09442" y="2841631"/>
            <a:ext cx="10995337" cy="303213"/>
          </a:xfrm>
        </p:spPr>
        <p:txBody>
          <a:bodyPr>
            <a:normAutofit/>
          </a:bodyPr>
          <a:lstStyle>
            <a:lvl1pPr>
              <a:defRPr sz="1800">
                <a:solidFill>
                  <a:srgbClr val="0095DC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5" name="Group 8"/>
          <p:cNvGrpSpPr>
            <a:grpSpLocks/>
          </p:cNvGrpSpPr>
          <p:nvPr userDrawn="1"/>
        </p:nvGrpSpPr>
        <p:grpSpPr bwMode="auto">
          <a:xfrm flipH="1">
            <a:off x="10716010" y="1"/>
            <a:ext cx="1472816" cy="1119188"/>
            <a:chOff x="1440543" y="1418168"/>
            <a:chExt cx="769056" cy="769056"/>
          </a:xfrm>
        </p:grpSpPr>
        <p:sp>
          <p:nvSpPr>
            <p:cNvPr id="6" name="Rectangle 11"/>
            <p:cNvSpPr>
              <a:spLocks noChangeArrowheads="1"/>
            </p:cNvSpPr>
            <p:nvPr userDrawn="1"/>
          </p:nvSpPr>
          <p:spPr bwMode="gray">
            <a:xfrm rot="5400000">
              <a:off x="1701732" y="1156979"/>
              <a:ext cx="246678" cy="769056"/>
            </a:xfrm>
            <a:prstGeom prst="rect">
              <a:avLst/>
            </a:prstGeom>
            <a:solidFill>
              <a:srgbClr val="009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defTabSz="914012" eaLnBrk="1" hangingPunct="1"/>
              <a:endParaRPr lang="en-US" altLang="en-US" sz="1800" dirty="0">
                <a:solidFill>
                  <a:srgbClr val="00A4E4"/>
                </a:solidFill>
              </a:endParaRPr>
            </a:p>
          </p:txBody>
        </p:sp>
        <p:sp>
          <p:nvSpPr>
            <p:cNvPr id="8" name="Rectangle 12"/>
            <p:cNvSpPr>
              <a:spLocks noChangeArrowheads="1"/>
            </p:cNvSpPr>
            <p:nvPr userDrawn="1"/>
          </p:nvSpPr>
          <p:spPr bwMode="gray">
            <a:xfrm>
              <a:off x="1440543" y="1418168"/>
              <a:ext cx="246555" cy="769056"/>
            </a:xfrm>
            <a:prstGeom prst="rect">
              <a:avLst/>
            </a:prstGeom>
            <a:solidFill>
              <a:srgbClr val="009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defTabSz="914012" eaLnBrk="1" hangingPunct="1"/>
              <a:endParaRPr lang="en-US" altLang="en-US" sz="1800" dirty="0">
                <a:solidFill>
                  <a:srgbClr val="00A4E4"/>
                </a:solidFill>
              </a:endParaRPr>
            </a:p>
          </p:txBody>
        </p:sp>
      </p:grpSp>
      <p:pic>
        <p:nvPicPr>
          <p:cNvPr id="9" name="Picture 5" descr="AIG_PRI_pms2995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12589" y="685801"/>
            <a:ext cx="1849485" cy="74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Footer Placeholder 6"/>
          <p:cNvSpPr txBox="1">
            <a:spLocks/>
          </p:cNvSpPr>
          <p:nvPr userDrawn="1"/>
        </p:nvSpPr>
        <p:spPr>
          <a:xfrm>
            <a:off x="8480689" y="6594193"/>
            <a:ext cx="2739664" cy="123111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 smtClean="0">
                <a:solidFill>
                  <a:srgbClr val="333333">
                    <a:tint val="75000"/>
                  </a:srgbClr>
                </a:solidFill>
              </a:rPr>
              <a:t>HIGHLY CONFIDENTIAL – DO NOT COPY</a:t>
            </a:r>
          </a:p>
        </p:txBody>
      </p:sp>
    </p:spTree>
    <p:extLst>
      <p:ext uri="{BB962C8B-B14F-4D97-AF65-F5344CB8AC3E}">
        <p14:creationId xmlns:p14="http://schemas.microsoft.com/office/powerpoint/2010/main" val="38143241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68710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851675" y="3081528"/>
            <a:ext cx="4461110" cy="256032"/>
          </a:xfrm>
          <a:noFill/>
        </p:spPr>
        <p:txBody>
          <a:bodyPr lIns="73120" rIns="73120" anchor="ctr" anchorCtr="1"/>
          <a:lstStyle>
            <a:lvl1pPr>
              <a:buNone/>
              <a:defRPr sz="16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02333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with pic 2 speakers no pic long pres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442" y="3920068"/>
            <a:ext cx="6549800" cy="1008254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000"/>
            </a:lvl1pPr>
          </a:lstStyle>
          <a:p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442" y="5061672"/>
            <a:ext cx="6549800" cy="469516"/>
          </a:xfrm>
        </p:spPr>
        <p:txBody>
          <a:bodyPr anchor="t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i="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sub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443" y="3310371"/>
            <a:ext cx="1285868" cy="523875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7294672" y="4083050"/>
            <a:ext cx="4339019" cy="804672"/>
          </a:xfrm>
        </p:spPr>
        <p:txBody>
          <a:bodyPr anchor="b" anchorCtr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90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7294672" y="5065183"/>
            <a:ext cx="4339019" cy="804672"/>
          </a:xfrm>
        </p:spPr>
        <p:txBody>
          <a:bodyPr anchor="b" anchorCtr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90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88825" cy="275234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Freeform 14"/>
          <p:cNvSpPr>
            <a:spLocks noChangeArrowheads="1"/>
          </p:cNvSpPr>
          <p:nvPr userDrawn="1"/>
        </p:nvSpPr>
        <p:spPr bwMode="gray">
          <a:xfrm rot="16200000" flipH="1">
            <a:off x="11395583" y="-108220"/>
            <a:ext cx="685022" cy="901467"/>
          </a:xfrm>
          <a:custGeom>
            <a:avLst/>
            <a:gdLst>
              <a:gd name="connsiteX0" fmla="*/ 0 w 1119189"/>
              <a:gd name="connsiteY0" fmla="*/ 0 h 1104900"/>
              <a:gd name="connsiteX1" fmla="*/ 0 w 1119189"/>
              <a:gd name="connsiteY1" fmla="*/ 1104900 h 1104900"/>
              <a:gd name="connsiteX2" fmla="*/ 358775 w 1119189"/>
              <a:gd name="connsiteY2" fmla="*/ 1104900 h 1104900"/>
              <a:gd name="connsiteX3" fmla="*/ 358775 w 1119189"/>
              <a:gd name="connsiteY3" fmla="*/ 1104900 h 1104900"/>
              <a:gd name="connsiteX4" fmla="*/ 1119189 w 1119189"/>
              <a:gd name="connsiteY4" fmla="*/ 1104900 h 1104900"/>
              <a:gd name="connsiteX5" fmla="*/ 1119189 w 1119189"/>
              <a:gd name="connsiteY5" fmla="*/ 750888 h 1104900"/>
              <a:gd name="connsiteX6" fmla="*/ 358775 w 1119189"/>
              <a:gd name="connsiteY6" fmla="*/ 750888 h 1104900"/>
              <a:gd name="connsiteX7" fmla="*/ 358775 w 1119189"/>
              <a:gd name="connsiteY7" fmla="*/ 0 h 1104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19189" h="1104900">
                <a:moveTo>
                  <a:pt x="0" y="0"/>
                </a:moveTo>
                <a:lnTo>
                  <a:pt x="0" y="1104900"/>
                </a:lnTo>
                <a:lnTo>
                  <a:pt x="358775" y="1104900"/>
                </a:lnTo>
                <a:lnTo>
                  <a:pt x="358775" y="1104900"/>
                </a:lnTo>
                <a:lnTo>
                  <a:pt x="1119189" y="1104900"/>
                </a:lnTo>
                <a:lnTo>
                  <a:pt x="1119189" y="750888"/>
                </a:lnTo>
                <a:lnTo>
                  <a:pt x="358775" y="750888"/>
                </a:lnTo>
                <a:lnTo>
                  <a:pt x="358775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square" anchor="ctr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914012" eaLnBrk="1" hangingPunct="1">
              <a:defRPr/>
            </a:pPr>
            <a:endParaRPr lang="en-US" altLang="en-US" sz="1800" dirty="0" smtClean="0">
              <a:solidFill>
                <a:srgbClr val="00A4E4"/>
              </a:solidFill>
            </a:endParaRP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4" y="5996941"/>
            <a:ext cx="10969944" cy="438759"/>
          </a:xfrm>
        </p:spPr>
        <p:txBody>
          <a:bodyPr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750" kern="120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 smtClean="0"/>
              <a:t>Text placeholder for disclaimer tex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39555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414">
          <p15:clr>
            <a:srgbClr val="FBAE40"/>
          </p15:clr>
        </p15:guide>
        <p15:guide id="2" orient="horz" pos="359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Column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533262" y="1009654"/>
            <a:ext cx="11122303" cy="5200649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20566" y="514353"/>
            <a:ext cx="11135000" cy="258763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ooter Placeholder 6"/>
          <p:cNvSpPr txBox="1">
            <a:spLocks/>
          </p:cNvSpPr>
          <p:nvPr userDrawn="1"/>
        </p:nvSpPr>
        <p:spPr>
          <a:xfrm>
            <a:off x="8480689" y="6594193"/>
            <a:ext cx="2739664" cy="123111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 smtClean="0">
                <a:solidFill>
                  <a:srgbClr val="333333">
                    <a:tint val="75000"/>
                  </a:srgbClr>
                </a:solidFill>
              </a:rPr>
              <a:t>HIGHLY CONFIDENTIAL – DO NOT COPY</a:t>
            </a:r>
          </a:p>
        </p:txBody>
      </p:sp>
    </p:spTree>
    <p:extLst>
      <p:ext uri="{BB962C8B-B14F-4D97-AF65-F5344CB8AC3E}">
        <p14:creationId xmlns:p14="http://schemas.microsoft.com/office/powerpoint/2010/main" val="30752680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610172" y="3276134"/>
            <a:ext cx="10995242" cy="1501488"/>
          </a:xfrm>
        </p:spPr>
        <p:txBody>
          <a:bodyPr>
            <a:normAutofit/>
          </a:bodyPr>
          <a:lstStyle>
            <a:lvl1pPr marL="0" marR="0" indent="0" algn="l" defTabSz="4570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 sz="1400" b="0" i="0" baseline="0">
                <a:solidFill>
                  <a:srgbClr val="0095DC"/>
                </a:solidFill>
                <a:latin typeface="AIG Futura Book"/>
                <a:cs typeface="AIG Futura Book"/>
              </a:defRPr>
            </a:lvl1pPr>
            <a:lvl2pPr marL="457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0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0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09442" y="2841631"/>
            <a:ext cx="10995337" cy="303213"/>
          </a:xfrm>
        </p:spPr>
        <p:txBody>
          <a:bodyPr>
            <a:normAutofit/>
          </a:bodyPr>
          <a:lstStyle>
            <a:lvl1pPr>
              <a:defRPr sz="1800">
                <a:solidFill>
                  <a:srgbClr val="0095DC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5" name="Group 8"/>
          <p:cNvGrpSpPr>
            <a:grpSpLocks/>
          </p:cNvGrpSpPr>
          <p:nvPr userDrawn="1"/>
        </p:nvGrpSpPr>
        <p:grpSpPr bwMode="auto">
          <a:xfrm flipH="1">
            <a:off x="10716010" y="1"/>
            <a:ext cx="1472816" cy="1119188"/>
            <a:chOff x="1440543" y="1418168"/>
            <a:chExt cx="769056" cy="769056"/>
          </a:xfrm>
        </p:grpSpPr>
        <p:sp>
          <p:nvSpPr>
            <p:cNvPr id="6" name="Rectangle 11"/>
            <p:cNvSpPr>
              <a:spLocks noChangeArrowheads="1"/>
            </p:cNvSpPr>
            <p:nvPr userDrawn="1"/>
          </p:nvSpPr>
          <p:spPr bwMode="gray">
            <a:xfrm rot="5400000">
              <a:off x="1701732" y="1156979"/>
              <a:ext cx="246678" cy="769056"/>
            </a:xfrm>
            <a:prstGeom prst="rect">
              <a:avLst/>
            </a:prstGeom>
            <a:solidFill>
              <a:srgbClr val="009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defTabSz="914012" eaLnBrk="1" hangingPunct="1"/>
              <a:endParaRPr lang="en-US" altLang="en-US" sz="1800" dirty="0">
                <a:solidFill>
                  <a:srgbClr val="00A4E4"/>
                </a:solidFill>
              </a:endParaRPr>
            </a:p>
          </p:txBody>
        </p:sp>
        <p:sp>
          <p:nvSpPr>
            <p:cNvPr id="8" name="Rectangle 12"/>
            <p:cNvSpPr>
              <a:spLocks noChangeArrowheads="1"/>
            </p:cNvSpPr>
            <p:nvPr userDrawn="1"/>
          </p:nvSpPr>
          <p:spPr bwMode="gray">
            <a:xfrm>
              <a:off x="1440543" y="1418168"/>
              <a:ext cx="246555" cy="769056"/>
            </a:xfrm>
            <a:prstGeom prst="rect">
              <a:avLst/>
            </a:prstGeom>
            <a:solidFill>
              <a:srgbClr val="009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defTabSz="914012" eaLnBrk="1" hangingPunct="1"/>
              <a:endParaRPr lang="en-US" altLang="en-US" sz="1800" dirty="0">
                <a:solidFill>
                  <a:srgbClr val="00A4E4"/>
                </a:solidFill>
              </a:endParaRPr>
            </a:p>
          </p:txBody>
        </p:sp>
      </p:grpSp>
      <p:pic>
        <p:nvPicPr>
          <p:cNvPr id="9" name="Picture 5" descr="AIG_PRI_pms2995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12589" y="685801"/>
            <a:ext cx="1849485" cy="74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Footer Placeholder 6"/>
          <p:cNvSpPr txBox="1">
            <a:spLocks/>
          </p:cNvSpPr>
          <p:nvPr userDrawn="1"/>
        </p:nvSpPr>
        <p:spPr>
          <a:xfrm>
            <a:off x="8480689" y="6594193"/>
            <a:ext cx="2739664" cy="123111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 smtClean="0">
                <a:solidFill>
                  <a:srgbClr val="333333">
                    <a:tint val="75000"/>
                  </a:srgbClr>
                </a:solidFill>
              </a:rPr>
              <a:t>HIGHLY CONFIDENTIAL – DO NOT COPY</a:t>
            </a:r>
          </a:p>
        </p:txBody>
      </p:sp>
    </p:spTree>
    <p:extLst>
      <p:ext uri="{BB962C8B-B14F-4D97-AF65-F5344CB8AC3E}">
        <p14:creationId xmlns:p14="http://schemas.microsoft.com/office/powerpoint/2010/main" val="5069527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609441" y="1197883"/>
            <a:ext cx="10969883" cy="457200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FontTx/>
              <a:buNone/>
              <a:defRPr lang="en-US" sz="160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2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Footer Placeholder 6"/>
          <p:cNvSpPr txBox="1">
            <a:spLocks/>
          </p:cNvSpPr>
          <p:nvPr userDrawn="1"/>
        </p:nvSpPr>
        <p:spPr>
          <a:xfrm>
            <a:off x="8480689" y="6594193"/>
            <a:ext cx="2739664" cy="123111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 smtClean="0">
                <a:solidFill>
                  <a:srgbClr val="333333">
                    <a:tint val="75000"/>
                  </a:srgbClr>
                </a:solidFill>
              </a:rPr>
              <a:t>HIGHLY CONFIDENTIAL – DO NOT COPY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66722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2_Cover with pic 2 speakers long pres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4540"/>
            <a:ext cx="12188825" cy="27432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445" y="3920070"/>
            <a:ext cx="6549799" cy="1008255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000"/>
            </a:lvl1pPr>
          </a:lstStyle>
          <a:p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445" y="5061671"/>
            <a:ext cx="6549799" cy="469516"/>
          </a:xfrm>
        </p:spPr>
        <p:txBody>
          <a:bodyPr anchor="t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i="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sub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8416044" y="4083051"/>
            <a:ext cx="3163343" cy="804672"/>
          </a:xfrm>
        </p:spPr>
        <p:txBody>
          <a:bodyPr anchor="b" anchorCtr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90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7294672" y="4082328"/>
            <a:ext cx="962917" cy="7863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8416044" y="5065183"/>
            <a:ext cx="3163343" cy="804672"/>
          </a:xfrm>
        </p:spPr>
        <p:txBody>
          <a:bodyPr anchor="b" anchorCtr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90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7294672" y="5064461"/>
            <a:ext cx="962917" cy="7863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609443" y="5996942"/>
            <a:ext cx="10969944" cy="438759"/>
          </a:xfrm>
        </p:spPr>
        <p:txBody>
          <a:bodyPr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750" kern="120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 smtClean="0"/>
              <a:t>Text placeholder for disclaimer text</a:t>
            </a:r>
          </a:p>
        </p:txBody>
      </p:sp>
      <p:pic>
        <p:nvPicPr>
          <p:cNvPr id="16" name="Picture 2" descr="\\LIVPVNASGRP02\Chartis_Communications\Branding\Brand Center\2015 Brand Center Documents\3_Our Brand Identity\Artwork\AIG Logo\AIG_logos_r\PNG\AIG_r_rgb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50" y="3302774"/>
            <a:ext cx="1402923" cy="5221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Freeform 17"/>
          <p:cNvSpPr>
            <a:spLocks noChangeArrowheads="1"/>
          </p:cNvSpPr>
          <p:nvPr userDrawn="1"/>
        </p:nvSpPr>
        <p:spPr bwMode="gray">
          <a:xfrm rot="16200000" flipH="1">
            <a:off x="11395584" y="-108221"/>
            <a:ext cx="685023" cy="901467"/>
          </a:xfrm>
          <a:custGeom>
            <a:avLst/>
            <a:gdLst>
              <a:gd name="connsiteX0" fmla="*/ 0 w 1119189"/>
              <a:gd name="connsiteY0" fmla="*/ 0 h 1104900"/>
              <a:gd name="connsiteX1" fmla="*/ 0 w 1119189"/>
              <a:gd name="connsiteY1" fmla="*/ 1104900 h 1104900"/>
              <a:gd name="connsiteX2" fmla="*/ 358775 w 1119189"/>
              <a:gd name="connsiteY2" fmla="*/ 1104900 h 1104900"/>
              <a:gd name="connsiteX3" fmla="*/ 358775 w 1119189"/>
              <a:gd name="connsiteY3" fmla="*/ 1104900 h 1104900"/>
              <a:gd name="connsiteX4" fmla="*/ 1119189 w 1119189"/>
              <a:gd name="connsiteY4" fmla="*/ 1104900 h 1104900"/>
              <a:gd name="connsiteX5" fmla="*/ 1119189 w 1119189"/>
              <a:gd name="connsiteY5" fmla="*/ 750888 h 1104900"/>
              <a:gd name="connsiteX6" fmla="*/ 358775 w 1119189"/>
              <a:gd name="connsiteY6" fmla="*/ 750888 h 1104900"/>
              <a:gd name="connsiteX7" fmla="*/ 358775 w 1119189"/>
              <a:gd name="connsiteY7" fmla="*/ 0 h 1104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19189" h="1104900">
                <a:moveTo>
                  <a:pt x="0" y="0"/>
                </a:moveTo>
                <a:lnTo>
                  <a:pt x="0" y="1104900"/>
                </a:lnTo>
                <a:lnTo>
                  <a:pt x="358775" y="1104900"/>
                </a:lnTo>
                <a:lnTo>
                  <a:pt x="358775" y="1104900"/>
                </a:lnTo>
                <a:lnTo>
                  <a:pt x="1119189" y="1104900"/>
                </a:lnTo>
                <a:lnTo>
                  <a:pt x="1119189" y="750888"/>
                </a:lnTo>
                <a:lnTo>
                  <a:pt x="358775" y="750888"/>
                </a:lnTo>
                <a:lnTo>
                  <a:pt x="358775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square" anchor="ctr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800" dirty="0" smtClean="0">
              <a:solidFill>
                <a:srgbClr val="00A4E4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69674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414">
          <p15:clr>
            <a:srgbClr val="FBAE40"/>
          </p15:clr>
        </p15:guide>
        <p15:guide id="2" orient="horz" pos="3592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851675" y="3081528"/>
            <a:ext cx="4461110" cy="256032"/>
          </a:xfrm>
          <a:noFill/>
        </p:spPr>
        <p:txBody>
          <a:bodyPr lIns="73120" rIns="73120" anchor="ctr" anchorCtr="1"/>
          <a:lstStyle>
            <a:lvl1pPr>
              <a:buNone/>
              <a:defRPr sz="16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0235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1904" y="1506539"/>
            <a:ext cx="10969943" cy="4672584"/>
          </a:xfrm>
        </p:spPr>
        <p:txBody>
          <a:bodyPr/>
          <a:lstStyle>
            <a:lvl1pPr>
              <a:lnSpc>
                <a:spcPct val="100000"/>
              </a:lnSpc>
              <a:defRPr sz="1800"/>
            </a:lvl1pPr>
            <a:lvl2pPr>
              <a:lnSpc>
                <a:spcPct val="100000"/>
              </a:lnSpc>
              <a:defRPr sz="1600"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>
          <a:xfrm>
            <a:off x="11412715" y="6235335"/>
            <a:ext cx="166669" cy="83099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>
              <a:defRPr lang="en-US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ctr"/>
            <a:fld id="{7505E45A-03BB-464B-8278-1A9522AE72B1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200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441" y="869061"/>
            <a:ext cx="10969943" cy="50292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60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510906" y="6220264"/>
            <a:ext cx="6983181" cy="492125"/>
          </a:xfrm>
        </p:spPr>
        <p:txBody>
          <a:bodyPr anchor="b" anchorCtr="0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lang="en-US" sz="8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Source: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23939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610172" y="3276134"/>
            <a:ext cx="10995242" cy="1501488"/>
          </a:xfrm>
        </p:spPr>
        <p:txBody>
          <a:bodyPr>
            <a:normAutofit/>
          </a:bodyPr>
          <a:lstStyle>
            <a:lvl1pPr marL="0" marR="0" indent="0" algn="l" defTabSz="4570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 sz="1400" b="0" i="0" baseline="0">
                <a:solidFill>
                  <a:srgbClr val="0095DC"/>
                </a:solidFill>
                <a:latin typeface="AIG Futura Book"/>
                <a:cs typeface="AIG Futura Book"/>
              </a:defRPr>
            </a:lvl1pPr>
            <a:lvl2pPr marL="457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0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0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09442" y="2841630"/>
            <a:ext cx="10995337" cy="303214"/>
          </a:xfrm>
        </p:spPr>
        <p:txBody>
          <a:bodyPr>
            <a:normAutofit/>
          </a:bodyPr>
          <a:lstStyle>
            <a:lvl1pPr>
              <a:defRPr sz="1800">
                <a:solidFill>
                  <a:srgbClr val="0095DC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5" name="Group 8"/>
          <p:cNvGrpSpPr>
            <a:grpSpLocks/>
          </p:cNvGrpSpPr>
          <p:nvPr userDrawn="1"/>
        </p:nvGrpSpPr>
        <p:grpSpPr bwMode="auto">
          <a:xfrm flipH="1">
            <a:off x="10716010" y="4"/>
            <a:ext cx="1472816" cy="1119188"/>
            <a:chOff x="1440543" y="1418168"/>
            <a:chExt cx="769056" cy="769056"/>
          </a:xfrm>
        </p:grpSpPr>
        <p:sp>
          <p:nvSpPr>
            <p:cNvPr id="6" name="Rectangle 11"/>
            <p:cNvSpPr>
              <a:spLocks noChangeArrowheads="1"/>
            </p:cNvSpPr>
            <p:nvPr userDrawn="1"/>
          </p:nvSpPr>
          <p:spPr bwMode="gray">
            <a:xfrm rot="5400000">
              <a:off x="1701732" y="1156979"/>
              <a:ext cx="246678" cy="769056"/>
            </a:xfrm>
            <a:prstGeom prst="rect">
              <a:avLst/>
            </a:prstGeom>
            <a:solidFill>
              <a:srgbClr val="009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defTabSz="914012" eaLnBrk="1" hangingPunct="1"/>
              <a:endParaRPr lang="en-US" altLang="en-US" sz="1800" dirty="0">
                <a:solidFill>
                  <a:srgbClr val="00A4E4"/>
                </a:solidFill>
              </a:endParaRPr>
            </a:p>
          </p:txBody>
        </p:sp>
        <p:sp>
          <p:nvSpPr>
            <p:cNvPr id="8" name="Rectangle 12"/>
            <p:cNvSpPr>
              <a:spLocks noChangeArrowheads="1"/>
            </p:cNvSpPr>
            <p:nvPr userDrawn="1"/>
          </p:nvSpPr>
          <p:spPr bwMode="gray">
            <a:xfrm>
              <a:off x="1440543" y="1418168"/>
              <a:ext cx="246555" cy="769056"/>
            </a:xfrm>
            <a:prstGeom prst="rect">
              <a:avLst/>
            </a:prstGeom>
            <a:solidFill>
              <a:srgbClr val="009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defTabSz="914012" eaLnBrk="1" hangingPunct="1"/>
              <a:endParaRPr lang="en-US" altLang="en-US" sz="1800" dirty="0">
                <a:solidFill>
                  <a:srgbClr val="00A4E4"/>
                </a:solidFill>
              </a:endParaRPr>
            </a:p>
          </p:txBody>
        </p:sp>
      </p:grpSp>
      <p:pic>
        <p:nvPicPr>
          <p:cNvPr id="9" name="Picture 5" descr="AIG_PRI_pms2995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12600" y="685804"/>
            <a:ext cx="1849485" cy="74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114221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06388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851675" y="3081528"/>
            <a:ext cx="4461110" cy="256032"/>
          </a:xfrm>
          <a:noFill/>
        </p:spPr>
        <p:txBody>
          <a:bodyPr lIns="73120" rIns="73120" anchor="ctr" anchorCtr="1"/>
          <a:lstStyle>
            <a:lvl1pPr>
              <a:buNone/>
              <a:defRPr sz="16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22270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with pic 2 speakers no pic long pres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447" y="3920068"/>
            <a:ext cx="6549800" cy="1008254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000"/>
            </a:lvl1pPr>
          </a:lstStyle>
          <a:p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447" y="5061672"/>
            <a:ext cx="6549800" cy="469516"/>
          </a:xfrm>
        </p:spPr>
        <p:txBody>
          <a:bodyPr anchor="t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i="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sub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443" y="3310368"/>
            <a:ext cx="1285868" cy="523876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7294672" y="4083050"/>
            <a:ext cx="4339019" cy="804672"/>
          </a:xfrm>
        </p:spPr>
        <p:txBody>
          <a:bodyPr anchor="b" anchorCtr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90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7294672" y="5065183"/>
            <a:ext cx="4339019" cy="804672"/>
          </a:xfrm>
        </p:spPr>
        <p:txBody>
          <a:bodyPr anchor="b" anchorCtr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90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88825" cy="275234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Freeform 14"/>
          <p:cNvSpPr>
            <a:spLocks noChangeArrowheads="1"/>
          </p:cNvSpPr>
          <p:nvPr userDrawn="1"/>
        </p:nvSpPr>
        <p:spPr bwMode="gray">
          <a:xfrm rot="16200000" flipH="1">
            <a:off x="11395583" y="-108222"/>
            <a:ext cx="685022" cy="901467"/>
          </a:xfrm>
          <a:custGeom>
            <a:avLst/>
            <a:gdLst>
              <a:gd name="connsiteX0" fmla="*/ 0 w 1119189"/>
              <a:gd name="connsiteY0" fmla="*/ 0 h 1104900"/>
              <a:gd name="connsiteX1" fmla="*/ 0 w 1119189"/>
              <a:gd name="connsiteY1" fmla="*/ 1104900 h 1104900"/>
              <a:gd name="connsiteX2" fmla="*/ 358775 w 1119189"/>
              <a:gd name="connsiteY2" fmla="*/ 1104900 h 1104900"/>
              <a:gd name="connsiteX3" fmla="*/ 358775 w 1119189"/>
              <a:gd name="connsiteY3" fmla="*/ 1104900 h 1104900"/>
              <a:gd name="connsiteX4" fmla="*/ 1119189 w 1119189"/>
              <a:gd name="connsiteY4" fmla="*/ 1104900 h 1104900"/>
              <a:gd name="connsiteX5" fmla="*/ 1119189 w 1119189"/>
              <a:gd name="connsiteY5" fmla="*/ 750888 h 1104900"/>
              <a:gd name="connsiteX6" fmla="*/ 358775 w 1119189"/>
              <a:gd name="connsiteY6" fmla="*/ 750888 h 1104900"/>
              <a:gd name="connsiteX7" fmla="*/ 358775 w 1119189"/>
              <a:gd name="connsiteY7" fmla="*/ 0 h 1104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19189" h="1104900">
                <a:moveTo>
                  <a:pt x="0" y="0"/>
                </a:moveTo>
                <a:lnTo>
                  <a:pt x="0" y="1104900"/>
                </a:lnTo>
                <a:lnTo>
                  <a:pt x="358775" y="1104900"/>
                </a:lnTo>
                <a:lnTo>
                  <a:pt x="358775" y="1104900"/>
                </a:lnTo>
                <a:lnTo>
                  <a:pt x="1119189" y="1104900"/>
                </a:lnTo>
                <a:lnTo>
                  <a:pt x="1119189" y="750888"/>
                </a:lnTo>
                <a:lnTo>
                  <a:pt x="358775" y="750888"/>
                </a:lnTo>
                <a:lnTo>
                  <a:pt x="358775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square" anchor="ctr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914012" eaLnBrk="1" hangingPunct="1">
              <a:defRPr/>
            </a:pPr>
            <a:endParaRPr lang="en-US" altLang="en-US" sz="1800" dirty="0" smtClean="0">
              <a:solidFill>
                <a:srgbClr val="00A4E4"/>
              </a:solidFill>
            </a:endParaRP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09451" y="5996940"/>
            <a:ext cx="10969944" cy="438760"/>
          </a:xfrm>
        </p:spPr>
        <p:txBody>
          <a:bodyPr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750" kern="120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 smtClean="0"/>
              <a:t>Text placeholder for disclaimer tex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05467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414">
          <p15:clr>
            <a:srgbClr val="FBAE40"/>
          </p15:clr>
        </p15:guide>
        <p15:guide id="2" orient="horz" pos="3592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bg bwMode="gray"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9" descr="logo_white_0-02.eps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4631" y="6230946"/>
            <a:ext cx="89723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8"/>
          <p:cNvGrpSpPr>
            <a:grpSpLocks/>
          </p:cNvGrpSpPr>
          <p:nvPr userDrawn="1"/>
        </p:nvGrpSpPr>
        <p:grpSpPr bwMode="auto">
          <a:xfrm flipH="1">
            <a:off x="10716010" y="4"/>
            <a:ext cx="1472816" cy="1119188"/>
            <a:chOff x="1440543" y="1418168"/>
            <a:chExt cx="769056" cy="769056"/>
          </a:xfrm>
          <a:solidFill>
            <a:srgbClr val="00A4E4"/>
          </a:solidFill>
        </p:grpSpPr>
        <p:sp>
          <p:nvSpPr>
            <p:cNvPr id="7" name="Rectangle 12"/>
            <p:cNvSpPr>
              <a:spLocks noChangeArrowheads="1"/>
            </p:cNvSpPr>
            <p:nvPr userDrawn="1"/>
          </p:nvSpPr>
          <p:spPr bwMode="gray">
            <a:xfrm rot="5400000">
              <a:off x="1701732" y="1156979"/>
              <a:ext cx="246678" cy="7690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defTabSz="914012" eaLnBrk="1" hangingPunct="1"/>
              <a:endParaRPr lang="en-US" altLang="en-US" sz="1800" dirty="0">
                <a:solidFill>
                  <a:srgbClr val="00A4E4"/>
                </a:solidFill>
              </a:endParaRPr>
            </a:p>
          </p:txBody>
        </p:sp>
        <p:sp>
          <p:nvSpPr>
            <p:cNvPr id="8" name="Rectangle 13"/>
            <p:cNvSpPr>
              <a:spLocks noChangeArrowheads="1"/>
            </p:cNvSpPr>
            <p:nvPr userDrawn="1"/>
          </p:nvSpPr>
          <p:spPr bwMode="gray">
            <a:xfrm>
              <a:off x="1440543" y="1418168"/>
              <a:ext cx="246555" cy="7690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defTabSz="914012" eaLnBrk="1" hangingPunct="1"/>
              <a:endParaRPr lang="en-US" altLang="en-US" sz="1800" dirty="0">
                <a:solidFill>
                  <a:srgbClr val="00A4E4"/>
                </a:solidFill>
              </a:endParaRPr>
            </a:p>
          </p:txBody>
        </p:sp>
      </p:grpSp>
      <p:sp>
        <p:nvSpPr>
          <p:cNvPr id="70658" name="Title Placeholder 22"/>
          <p:cNvSpPr>
            <a:spLocks noGrp="1"/>
          </p:cNvSpPr>
          <p:nvPr>
            <p:ph type="ctrTitle"/>
          </p:nvPr>
        </p:nvSpPr>
        <p:spPr bwMode="gray">
          <a:xfrm>
            <a:off x="821063" y="1911358"/>
            <a:ext cx="8773415" cy="1279525"/>
          </a:xfrm>
        </p:spPr>
        <p:txBody>
          <a:bodyPr wrap="square"/>
          <a:lstStyle>
            <a:lvl1pPr>
              <a:defRPr sz="36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subTitle" idx="1"/>
          </p:nvPr>
        </p:nvSpPr>
        <p:spPr>
          <a:xfrm>
            <a:off x="821063" y="3262313"/>
            <a:ext cx="8773415" cy="639762"/>
          </a:xfrm>
        </p:spPr>
        <p:txBody>
          <a:bodyPr/>
          <a:lstStyle>
            <a:lvl1pPr marL="0" indent="0">
              <a:buFont typeface="Wingdings" charset="0"/>
              <a:buNone/>
              <a:defRPr sz="18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371990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4144211" y="6377940"/>
            <a:ext cx="3900423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>
          <a:xfrm>
            <a:off x="609441" y="6377940"/>
            <a:ext cx="2803430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>
          <a:xfrm>
            <a:off x="5983964" y="6491952"/>
            <a:ext cx="222586" cy="133174"/>
          </a:xfrm>
          <a:prstGeom prst="rect">
            <a:avLst/>
          </a:prstGeom>
        </p:spPr>
        <p:txBody>
          <a:bodyPr lIns="0" tIns="0" rIns="0" bIns="0"/>
          <a:lstStyle/>
          <a:p>
            <a:pPr marL="25400"/>
            <a:fld id="{81D60167-4931-47E6-BA6A-407CBD079E47}" type="slidenum">
              <a:rPr lang="en-US" sz="800">
                <a:solidFill>
                  <a:srgbClr val="808080"/>
                </a:solidFill>
                <a:latin typeface="Century Gothic"/>
                <a:cs typeface="Century Gothic"/>
              </a:rPr>
              <a:pPr marL="25400"/>
              <a:t>‹#›</a:t>
            </a:fld>
            <a:endParaRPr lang="en-US" sz="800" dirty="0">
              <a:solidFill>
                <a:srgbClr val="000000"/>
              </a:solidFill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2108176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610172" y="3276134"/>
            <a:ext cx="10995242" cy="1501488"/>
          </a:xfrm>
        </p:spPr>
        <p:txBody>
          <a:bodyPr>
            <a:normAutofit/>
          </a:bodyPr>
          <a:lstStyle>
            <a:lvl1pPr marL="0" marR="0" indent="0" algn="l" defTabSz="4570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 sz="1400" b="0" i="0" baseline="0">
                <a:solidFill>
                  <a:srgbClr val="0095DC"/>
                </a:solidFill>
                <a:latin typeface="AIG Futura Book"/>
                <a:cs typeface="AIG Futura Book"/>
              </a:defRPr>
            </a:lvl1pPr>
            <a:lvl2pPr marL="457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0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0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09442" y="2841631"/>
            <a:ext cx="10995337" cy="303213"/>
          </a:xfrm>
        </p:spPr>
        <p:txBody>
          <a:bodyPr>
            <a:normAutofit/>
          </a:bodyPr>
          <a:lstStyle>
            <a:lvl1pPr>
              <a:defRPr sz="1800">
                <a:solidFill>
                  <a:srgbClr val="0095DC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5" name="Group 8"/>
          <p:cNvGrpSpPr>
            <a:grpSpLocks/>
          </p:cNvGrpSpPr>
          <p:nvPr userDrawn="1"/>
        </p:nvGrpSpPr>
        <p:grpSpPr bwMode="auto">
          <a:xfrm flipH="1">
            <a:off x="10716010" y="1"/>
            <a:ext cx="1472816" cy="1119188"/>
            <a:chOff x="1440543" y="1418168"/>
            <a:chExt cx="769056" cy="769056"/>
          </a:xfrm>
        </p:grpSpPr>
        <p:sp>
          <p:nvSpPr>
            <p:cNvPr id="6" name="Rectangle 11"/>
            <p:cNvSpPr>
              <a:spLocks noChangeArrowheads="1"/>
            </p:cNvSpPr>
            <p:nvPr userDrawn="1"/>
          </p:nvSpPr>
          <p:spPr bwMode="gray">
            <a:xfrm rot="5400000">
              <a:off x="1701732" y="1156979"/>
              <a:ext cx="246678" cy="769056"/>
            </a:xfrm>
            <a:prstGeom prst="rect">
              <a:avLst/>
            </a:prstGeom>
            <a:solidFill>
              <a:srgbClr val="009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defTabSz="914012" eaLnBrk="1" hangingPunct="1"/>
              <a:endParaRPr lang="en-US" altLang="en-US" sz="1800" dirty="0">
                <a:solidFill>
                  <a:srgbClr val="00A4E4"/>
                </a:solidFill>
              </a:endParaRPr>
            </a:p>
          </p:txBody>
        </p:sp>
        <p:sp>
          <p:nvSpPr>
            <p:cNvPr id="8" name="Rectangle 12"/>
            <p:cNvSpPr>
              <a:spLocks noChangeArrowheads="1"/>
            </p:cNvSpPr>
            <p:nvPr userDrawn="1"/>
          </p:nvSpPr>
          <p:spPr bwMode="gray">
            <a:xfrm>
              <a:off x="1440543" y="1418168"/>
              <a:ext cx="246555" cy="769056"/>
            </a:xfrm>
            <a:prstGeom prst="rect">
              <a:avLst/>
            </a:prstGeom>
            <a:solidFill>
              <a:srgbClr val="009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defTabSz="914012" eaLnBrk="1" hangingPunct="1"/>
              <a:endParaRPr lang="en-US" altLang="en-US" sz="1800" dirty="0">
                <a:solidFill>
                  <a:srgbClr val="00A4E4"/>
                </a:solidFill>
              </a:endParaRPr>
            </a:p>
          </p:txBody>
        </p:sp>
      </p:grpSp>
      <p:pic>
        <p:nvPicPr>
          <p:cNvPr id="9" name="Picture 5" descr="AIG_PRI_pms2995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12589" y="685801"/>
            <a:ext cx="1849485" cy="74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949326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70638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851675" y="3081528"/>
            <a:ext cx="4461110" cy="256032"/>
          </a:xfrm>
          <a:noFill/>
        </p:spPr>
        <p:txBody>
          <a:bodyPr lIns="73120" rIns="73120" anchor="ctr" anchorCtr="1"/>
          <a:lstStyle>
            <a:lvl1pPr>
              <a:buNone/>
              <a:defRPr sz="16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7705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with pic 2 speakers no pic long pres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442" y="3920068"/>
            <a:ext cx="6549800" cy="1008254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000"/>
            </a:lvl1pPr>
          </a:lstStyle>
          <a:p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442" y="5061672"/>
            <a:ext cx="6549800" cy="469516"/>
          </a:xfrm>
        </p:spPr>
        <p:txBody>
          <a:bodyPr anchor="t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i="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sub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443" y="3310371"/>
            <a:ext cx="1285868" cy="523875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7294672" y="4083050"/>
            <a:ext cx="4339019" cy="804672"/>
          </a:xfrm>
        </p:spPr>
        <p:txBody>
          <a:bodyPr anchor="b" anchorCtr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90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7294672" y="5065183"/>
            <a:ext cx="4339019" cy="804672"/>
          </a:xfrm>
        </p:spPr>
        <p:txBody>
          <a:bodyPr anchor="b" anchorCtr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90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88825" cy="275234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Freeform 14"/>
          <p:cNvSpPr>
            <a:spLocks noChangeArrowheads="1"/>
          </p:cNvSpPr>
          <p:nvPr userDrawn="1"/>
        </p:nvSpPr>
        <p:spPr bwMode="gray">
          <a:xfrm rot="16200000" flipH="1">
            <a:off x="11395583" y="-108220"/>
            <a:ext cx="685022" cy="901467"/>
          </a:xfrm>
          <a:custGeom>
            <a:avLst/>
            <a:gdLst>
              <a:gd name="connsiteX0" fmla="*/ 0 w 1119189"/>
              <a:gd name="connsiteY0" fmla="*/ 0 h 1104900"/>
              <a:gd name="connsiteX1" fmla="*/ 0 w 1119189"/>
              <a:gd name="connsiteY1" fmla="*/ 1104900 h 1104900"/>
              <a:gd name="connsiteX2" fmla="*/ 358775 w 1119189"/>
              <a:gd name="connsiteY2" fmla="*/ 1104900 h 1104900"/>
              <a:gd name="connsiteX3" fmla="*/ 358775 w 1119189"/>
              <a:gd name="connsiteY3" fmla="*/ 1104900 h 1104900"/>
              <a:gd name="connsiteX4" fmla="*/ 1119189 w 1119189"/>
              <a:gd name="connsiteY4" fmla="*/ 1104900 h 1104900"/>
              <a:gd name="connsiteX5" fmla="*/ 1119189 w 1119189"/>
              <a:gd name="connsiteY5" fmla="*/ 750888 h 1104900"/>
              <a:gd name="connsiteX6" fmla="*/ 358775 w 1119189"/>
              <a:gd name="connsiteY6" fmla="*/ 750888 h 1104900"/>
              <a:gd name="connsiteX7" fmla="*/ 358775 w 1119189"/>
              <a:gd name="connsiteY7" fmla="*/ 0 h 1104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19189" h="1104900">
                <a:moveTo>
                  <a:pt x="0" y="0"/>
                </a:moveTo>
                <a:lnTo>
                  <a:pt x="0" y="1104900"/>
                </a:lnTo>
                <a:lnTo>
                  <a:pt x="358775" y="1104900"/>
                </a:lnTo>
                <a:lnTo>
                  <a:pt x="358775" y="1104900"/>
                </a:lnTo>
                <a:lnTo>
                  <a:pt x="1119189" y="1104900"/>
                </a:lnTo>
                <a:lnTo>
                  <a:pt x="1119189" y="750888"/>
                </a:lnTo>
                <a:lnTo>
                  <a:pt x="358775" y="750888"/>
                </a:lnTo>
                <a:lnTo>
                  <a:pt x="358775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square" anchor="ctr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914012" eaLnBrk="1" hangingPunct="1">
              <a:defRPr/>
            </a:pPr>
            <a:endParaRPr lang="en-US" altLang="en-US" sz="1800" dirty="0" smtClean="0">
              <a:solidFill>
                <a:srgbClr val="00A4E4"/>
              </a:solidFill>
            </a:endParaRP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4" y="5996941"/>
            <a:ext cx="10969944" cy="438759"/>
          </a:xfrm>
        </p:spPr>
        <p:txBody>
          <a:bodyPr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750" kern="120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 smtClean="0"/>
              <a:t>Text placeholder for disclaimer tex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15662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414">
          <p15:clr>
            <a:srgbClr val="FBAE40"/>
          </p15:clr>
        </p15:guide>
        <p15:guide id="2" orient="horz" pos="3592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with pic 2 speakers no pic long pres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442" y="3920068"/>
            <a:ext cx="6549800" cy="1008254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000"/>
            </a:lvl1pPr>
          </a:lstStyle>
          <a:p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442" y="5061672"/>
            <a:ext cx="6549800" cy="469516"/>
          </a:xfrm>
        </p:spPr>
        <p:txBody>
          <a:bodyPr anchor="t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i="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sub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443" y="3310371"/>
            <a:ext cx="1285868" cy="523875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7294672" y="4083050"/>
            <a:ext cx="4339019" cy="804672"/>
          </a:xfrm>
        </p:spPr>
        <p:txBody>
          <a:bodyPr anchor="b" anchorCtr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90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7294672" y="5065183"/>
            <a:ext cx="4339019" cy="804672"/>
          </a:xfrm>
        </p:spPr>
        <p:txBody>
          <a:bodyPr anchor="b" anchorCtr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90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88825" cy="275234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Freeform 14"/>
          <p:cNvSpPr>
            <a:spLocks noChangeArrowheads="1"/>
          </p:cNvSpPr>
          <p:nvPr userDrawn="1"/>
        </p:nvSpPr>
        <p:spPr bwMode="gray">
          <a:xfrm rot="16200000" flipH="1">
            <a:off x="11395583" y="-108220"/>
            <a:ext cx="685022" cy="901467"/>
          </a:xfrm>
          <a:custGeom>
            <a:avLst/>
            <a:gdLst>
              <a:gd name="connsiteX0" fmla="*/ 0 w 1119189"/>
              <a:gd name="connsiteY0" fmla="*/ 0 h 1104900"/>
              <a:gd name="connsiteX1" fmla="*/ 0 w 1119189"/>
              <a:gd name="connsiteY1" fmla="*/ 1104900 h 1104900"/>
              <a:gd name="connsiteX2" fmla="*/ 358775 w 1119189"/>
              <a:gd name="connsiteY2" fmla="*/ 1104900 h 1104900"/>
              <a:gd name="connsiteX3" fmla="*/ 358775 w 1119189"/>
              <a:gd name="connsiteY3" fmla="*/ 1104900 h 1104900"/>
              <a:gd name="connsiteX4" fmla="*/ 1119189 w 1119189"/>
              <a:gd name="connsiteY4" fmla="*/ 1104900 h 1104900"/>
              <a:gd name="connsiteX5" fmla="*/ 1119189 w 1119189"/>
              <a:gd name="connsiteY5" fmla="*/ 750888 h 1104900"/>
              <a:gd name="connsiteX6" fmla="*/ 358775 w 1119189"/>
              <a:gd name="connsiteY6" fmla="*/ 750888 h 1104900"/>
              <a:gd name="connsiteX7" fmla="*/ 358775 w 1119189"/>
              <a:gd name="connsiteY7" fmla="*/ 0 h 1104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19189" h="1104900">
                <a:moveTo>
                  <a:pt x="0" y="0"/>
                </a:moveTo>
                <a:lnTo>
                  <a:pt x="0" y="1104900"/>
                </a:lnTo>
                <a:lnTo>
                  <a:pt x="358775" y="1104900"/>
                </a:lnTo>
                <a:lnTo>
                  <a:pt x="358775" y="1104900"/>
                </a:lnTo>
                <a:lnTo>
                  <a:pt x="1119189" y="1104900"/>
                </a:lnTo>
                <a:lnTo>
                  <a:pt x="1119189" y="750888"/>
                </a:lnTo>
                <a:lnTo>
                  <a:pt x="358775" y="750888"/>
                </a:lnTo>
                <a:lnTo>
                  <a:pt x="358775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square" anchor="ctr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914012" eaLnBrk="1" hangingPunct="1">
              <a:defRPr/>
            </a:pPr>
            <a:endParaRPr lang="en-US" altLang="en-US" sz="1800" dirty="0" smtClean="0">
              <a:solidFill>
                <a:srgbClr val="00A4E4"/>
              </a:solidFill>
            </a:endParaRP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4" y="5996941"/>
            <a:ext cx="10969944" cy="438759"/>
          </a:xfrm>
        </p:spPr>
        <p:txBody>
          <a:bodyPr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750" kern="120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 smtClean="0"/>
              <a:t>Text placeholder for disclaimer tex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75194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414">
          <p15:clr>
            <a:srgbClr val="FBAE40"/>
          </p15:clr>
        </p15:guide>
        <p15:guide id="2" orient="horz" pos="359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bg bwMode="gray"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9" descr="logo_white_0-02.eps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4631" y="6230941"/>
            <a:ext cx="89723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8"/>
          <p:cNvGrpSpPr>
            <a:grpSpLocks/>
          </p:cNvGrpSpPr>
          <p:nvPr userDrawn="1"/>
        </p:nvGrpSpPr>
        <p:grpSpPr bwMode="auto">
          <a:xfrm flipH="1">
            <a:off x="10716010" y="1"/>
            <a:ext cx="1472816" cy="1119188"/>
            <a:chOff x="1440543" y="1418168"/>
            <a:chExt cx="769056" cy="769056"/>
          </a:xfrm>
          <a:solidFill>
            <a:srgbClr val="00A4E4"/>
          </a:solidFill>
        </p:grpSpPr>
        <p:sp>
          <p:nvSpPr>
            <p:cNvPr id="7" name="Rectangle 12"/>
            <p:cNvSpPr>
              <a:spLocks noChangeArrowheads="1"/>
            </p:cNvSpPr>
            <p:nvPr userDrawn="1"/>
          </p:nvSpPr>
          <p:spPr bwMode="gray">
            <a:xfrm rot="5400000">
              <a:off x="1701732" y="1156979"/>
              <a:ext cx="246678" cy="7690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defTabSz="914012" eaLnBrk="1" hangingPunct="1"/>
              <a:endParaRPr lang="en-US" altLang="en-US" sz="1800" dirty="0">
                <a:solidFill>
                  <a:srgbClr val="00A4E4"/>
                </a:solidFill>
              </a:endParaRPr>
            </a:p>
          </p:txBody>
        </p:sp>
        <p:sp>
          <p:nvSpPr>
            <p:cNvPr id="8" name="Rectangle 13"/>
            <p:cNvSpPr>
              <a:spLocks noChangeArrowheads="1"/>
            </p:cNvSpPr>
            <p:nvPr userDrawn="1"/>
          </p:nvSpPr>
          <p:spPr bwMode="gray">
            <a:xfrm>
              <a:off x="1440543" y="1418168"/>
              <a:ext cx="246555" cy="7690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defTabSz="914012" eaLnBrk="1" hangingPunct="1"/>
              <a:endParaRPr lang="en-US" altLang="en-US" sz="1800" dirty="0">
                <a:solidFill>
                  <a:srgbClr val="00A4E4"/>
                </a:solidFill>
              </a:endParaRPr>
            </a:p>
          </p:txBody>
        </p:sp>
      </p:grpSp>
      <p:sp>
        <p:nvSpPr>
          <p:cNvPr id="70658" name="Title Placeholder 22"/>
          <p:cNvSpPr>
            <a:spLocks noGrp="1"/>
          </p:cNvSpPr>
          <p:nvPr>
            <p:ph type="ctrTitle"/>
          </p:nvPr>
        </p:nvSpPr>
        <p:spPr bwMode="gray">
          <a:xfrm>
            <a:off x="821055" y="1911353"/>
            <a:ext cx="8773415" cy="1279525"/>
          </a:xfrm>
        </p:spPr>
        <p:txBody>
          <a:bodyPr wrap="square"/>
          <a:lstStyle>
            <a:lvl1pPr>
              <a:defRPr sz="36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subTitle" idx="1"/>
          </p:nvPr>
        </p:nvSpPr>
        <p:spPr>
          <a:xfrm>
            <a:off x="821055" y="3262313"/>
            <a:ext cx="8773415" cy="639762"/>
          </a:xfrm>
        </p:spPr>
        <p:txBody>
          <a:bodyPr/>
          <a:lstStyle>
            <a:lvl1pPr marL="0" indent="0">
              <a:buFont typeface="Wingdings" charset="0"/>
              <a:buNone/>
              <a:defRPr sz="18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001723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610172" y="3276134"/>
            <a:ext cx="10995242" cy="1501488"/>
          </a:xfrm>
        </p:spPr>
        <p:txBody>
          <a:bodyPr>
            <a:normAutofit/>
          </a:bodyPr>
          <a:lstStyle>
            <a:lvl1pPr marL="0" marR="0" indent="0" algn="l" defTabSz="4570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 sz="1400" b="0" i="0" baseline="0">
                <a:solidFill>
                  <a:srgbClr val="0095DC"/>
                </a:solidFill>
                <a:latin typeface="AIG Futura Book"/>
                <a:cs typeface="AIG Futura Book"/>
              </a:defRPr>
            </a:lvl1pPr>
            <a:lvl2pPr marL="457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0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0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09442" y="2841631"/>
            <a:ext cx="10995337" cy="303213"/>
          </a:xfrm>
        </p:spPr>
        <p:txBody>
          <a:bodyPr>
            <a:normAutofit/>
          </a:bodyPr>
          <a:lstStyle>
            <a:lvl1pPr>
              <a:defRPr sz="1800">
                <a:solidFill>
                  <a:srgbClr val="0095DC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5" name="Group 8"/>
          <p:cNvGrpSpPr>
            <a:grpSpLocks/>
          </p:cNvGrpSpPr>
          <p:nvPr userDrawn="1"/>
        </p:nvGrpSpPr>
        <p:grpSpPr bwMode="auto">
          <a:xfrm flipH="1">
            <a:off x="10716010" y="1"/>
            <a:ext cx="1472816" cy="1119188"/>
            <a:chOff x="1440543" y="1418168"/>
            <a:chExt cx="769056" cy="769056"/>
          </a:xfrm>
        </p:grpSpPr>
        <p:sp>
          <p:nvSpPr>
            <p:cNvPr id="6" name="Rectangle 11"/>
            <p:cNvSpPr>
              <a:spLocks noChangeArrowheads="1"/>
            </p:cNvSpPr>
            <p:nvPr userDrawn="1"/>
          </p:nvSpPr>
          <p:spPr bwMode="gray">
            <a:xfrm rot="5400000">
              <a:off x="1701732" y="1156979"/>
              <a:ext cx="246678" cy="769056"/>
            </a:xfrm>
            <a:prstGeom prst="rect">
              <a:avLst/>
            </a:prstGeom>
            <a:solidFill>
              <a:srgbClr val="009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defTabSz="914012" eaLnBrk="1" hangingPunct="1"/>
              <a:endParaRPr lang="en-US" altLang="en-US" sz="1800" dirty="0">
                <a:solidFill>
                  <a:srgbClr val="00A4E4"/>
                </a:solidFill>
              </a:endParaRPr>
            </a:p>
          </p:txBody>
        </p:sp>
        <p:sp>
          <p:nvSpPr>
            <p:cNvPr id="8" name="Rectangle 12"/>
            <p:cNvSpPr>
              <a:spLocks noChangeArrowheads="1"/>
            </p:cNvSpPr>
            <p:nvPr userDrawn="1"/>
          </p:nvSpPr>
          <p:spPr bwMode="gray">
            <a:xfrm>
              <a:off x="1440543" y="1418168"/>
              <a:ext cx="246555" cy="769056"/>
            </a:xfrm>
            <a:prstGeom prst="rect">
              <a:avLst/>
            </a:prstGeom>
            <a:solidFill>
              <a:srgbClr val="009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defTabSz="914012" eaLnBrk="1" hangingPunct="1"/>
              <a:endParaRPr lang="en-US" altLang="en-US" sz="1800" dirty="0">
                <a:solidFill>
                  <a:srgbClr val="00A4E4"/>
                </a:solidFill>
              </a:endParaRPr>
            </a:p>
          </p:txBody>
        </p:sp>
      </p:grpSp>
      <p:pic>
        <p:nvPicPr>
          <p:cNvPr id="9" name="Picture 5" descr="AIG_PRI_pms2995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12589" y="685801"/>
            <a:ext cx="1849485" cy="74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159089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98265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851675" y="3081528"/>
            <a:ext cx="4461110" cy="256032"/>
          </a:xfrm>
          <a:noFill/>
        </p:spPr>
        <p:txBody>
          <a:bodyPr lIns="73120" rIns="73120" anchor="ctr" anchorCtr="1"/>
          <a:lstStyle>
            <a:lvl1pPr>
              <a:buNone/>
              <a:defRPr sz="16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7919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with pic 2 speakers no pic long pres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442" y="3920068"/>
            <a:ext cx="6549800" cy="1008254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000"/>
            </a:lvl1pPr>
          </a:lstStyle>
          <a:p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442" y="5061672"/>
            <a:ext cx="6549800" cy="469516"/>
          </a:xfrm>
        </p:spPr>
        <p:txBody>
          <a:bodyPr anchor="t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i="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sub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443" y="3310371"/>
            <a:ext cx="1285868" cy="523875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7294672" y="4083050"/>
            <a:ext cx="4339019" cy="804672"/>
          </a:xfrm>
        </p:spPr>
        <p:txBody>
          <a:bodyPr anchor="b" anchorCtr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90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7294672" y="5065183"/>
            <a:ext cx="4339019" cy="804672"/>
          </a:xfrm>
        </p:spPr>
        <p:txBody>
          <a:bodyPr anchor="b" anchorCtr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90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88825" cy="275234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Freeform 14"/>
          <p:cNvSpPr>
            <a:spLocks noChangeArrowheads="1"/>
          </p:cNvSpPr>
          <p:nvPr userDrawn="1"/>
        </p:nvSpPr>
        <p:spPr bwMode="gray">
          <a:xfrm rot="16200000" flipH="1">
            <a:off x="11395583" y="-108220"/>
            <a:ext cx="685022" cy="901467"/>
          </a:xfrm>
          <a:custGeom>
            <a:avLst/>
            <a:gdLst>
              <a:gd name="connsiteX0" fmla="*/ 0 w 1119189"/>
              <a:gd name="connsiteY0" fmla="*/ 0 h 1104900"/>
              <a:gd name="connsiteX1" fmla="*/ 0 w 1119189"/>
              <a:gd name="connsiteY1" fmla="*/ 1104900 h 1104900"/>
              <a:gd name="connsiteX2" fmla="*/ 358775 w 1119189"/>
              <a:gd name="connsiteY2" fmla="*/ 1104900 h 1104900"/>
              <a:gd name="connsiteX3" fmla="*/ 358775 w 1119189"/>
              <a:gd name="connsiteY3" fmla="*/ 1104900 h 1104900"/>
              <a:gd name="connsiteX4" fmla="*/ 1119189 w 1119189"/>
              <a:gd name="connsiteY4" fmla="*/ 1104900 h 1104900"/>
              <a:gd name="connsiteX5" fmla="*/ 1119189 w 1119189"/>
              <a:gd name="connsiteY5" fmla="*/ 750888 h 1104900"/>
              <a:gd name="connsiteX6" fmla="*/ 358775 w 1119189"/>
              <a:gd name="connsiteY6" fmla="*/ 750888 h 1104900"/>
              <a:gd name="connsiteX7" fmla="*/ 358775 w 1119189"/>
              <a:gd name="connsiteY7" fmla="*/ 0 h 1104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19189" h="1104900">
                <a:moveTo>
                  <a:pt x="0" y="0"/>
                </a:moveTo>
                <a:lnTo>
                  <a:pt x="0" y="1104900"/>
                </a:lnTo>
                <a:lnTo>
                  <a:pt x="358775" y="1104900"/>
                </a:lnTo>
                <a:lnTo>
                  <a:pt x="358775" y="1104900"/>
                </a:lnTo>
                <a:lnTo>
                  <a:pt x="1119189" y="1104900"/>
                </a:lnTo>
                <a:lnTo>
                  <a:pt x="1119189" y="750888"/>
                </a:lnTo>
                <a:lnTo>
                  <a:pt x="358775" y="750888"/>
                </a:lnTo>
                <a:lnTo>
                  <a:pt x="358775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square" anchor="ctr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914012" eaLnBrk="1" hangingPunct="1">
              <a:defRPr/>
            </a:pPr>
            <a:endParaRPr lang="en-US" altLang="en-US" sz="1800" dirty="0" smtClean="0">
              <a:solidFill>
                <a:srgbClr val="00A4E4"/>
              </a:solidFill>
            </a:endParaRP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4" y="5996941"/>
            <a:ext cx="10969944" cy="438759"/>
          </a:xfrm>
        </p:spPr>
        <p:txBody>
          <a:bodyPr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750" kern="120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 smtClean="0"/>
              <a:t>Text placeholder for disclaimer tex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6681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414">
          <p15:clr>
            <a:srgbClr val="FBAE40"/>
          </p15:clr>
        </p15:guide>
        <p15:guide id="2" orient="horz" pos="3592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bg bwMode="gray"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9" descr="logo_white_0-02.eps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4631" y="6230941"/>
            <a:ext cx="89723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8"/>
          <p:cNvGrpSpPr>
            <a:grpSpLocks/>
          </p:cNvGrpSpPr>
          <p:nvPr userDrawn="1"/>
        </p:nvGrpSpPr>
        <p:grpSpPr bwMode="auto">
          <a:xfrm flipH="1">
            <a:off x="10716010" y="1"/>
            <a:ext cx="1472816" cy="1119188"/>
            <a:chOff x="1440543" y="1418168"/>
            <a:chExt cx="769056" cy="769056"/>
          </a:xfrm>
          <a:solidFill>
            <a:srgbClr val="00A4E4"/>
          </a:solidFill>
        </p:grpSpPr>
        <p:sp>
          <p:nvSpPr>
            <p:cNvPr id="7" name="Rectangle 12"/>
            <p:cNvSpPr>
              <a:spLocks noChangeArrowheads="1"/>
            </p:cNvSpPr>
            <p:nvPr userDrawn="1"/>
          </p:nvSpPr>
          <p:spPr bwMode="gray">
            <a:xfrm rot="5400000">
              <a:off x="1701732" y="1156979"/>
              <a:ext cx="246678" cy="7690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defTabSz="914012" eaLnBrk="1" hangingPunct="1"/>
              <a:endParaRPr lang="en-US" altLang="en-US" sz="1800" dirty="0">
                <a:solidFill>
                  <a:srgbClr val="00A4E4"/>
                </a:solidFill>
              </a:endParaRPr>
            </a:p>
          </p:txBody>
        </p:sp>
        <p:sp>
          <p:nvSpPr>
            <p:cNvPr id="8" name="Rectangle 13"/>
            <p:cNvSpPr>
              <a:spLocks noChangeArrowheads="1"/>
            </p:cNvSpPr>
            <p:nvPr userDrawn="1"/>
          </p:nvSpPr>
          <p:spPr bwMode="gray">
            <a:xfrm>
              <a:off x="1440543" y="1418168"/>
              <a:ext cx="246555" cy="7690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defTabSz="914012" eaLnBrk="1" hangingPunct="1"/>
              <a:endParaRPr lang="en-US" altLang="en-US" sz="1800" dirty="0">
                <a:solidFill>
                  <a:srgbClr val="00A4E4"/>
                </a:solidFill>
              </a:endParaRPr>
            </a:p>
          </p:txBody>
        </p:sp>
      </p:grpSp>
      <p:sp>
        <p:nvSpPr>
          <p:cNvPr id="70658" name="Title Placeholder 22"/>
          <p:cNvSpPr>
            <a:spLocks noGrp="1"/>
          </p:cNvSpPr>
          <p:nvPr>
            <p:ph type="ctrTitle"/>
          </p:nvPr>
        </p:nvSpPr>
        <p:spPr bwMode="gray">
          <a:xfrm>
            <a:off x="821055" y="1911353"/>
            <a:ext cx="8773415" cy="1279525"/>
          </a:xfrm>
        </p:spPr>
        <p:txBody>
          <a:bodyPr wrap="square"/>
          <a:lstStyle>
            <a:lvl1pPr>
              <a:defRPr sz="36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subTitle" idx="1"/>
          </p:nvPr>
        </p:nvSpPr>
        <p:spPr>
          <a:xfrm>
            <a:off x="821055" y="3262313"/>
            <a:ext cx="8773415" cy="639762"/>
          </a:xfrm>
        </p:spPr>
        <p:txBody>
          <a:bodyPr/>
          <a:lstStyle>
            <a:lvl1pPr marL="0" indent="0">
              <a:buFont typeface="Wingdings" charset="0"/>
              <a:buNone/>
              <a:defRPr sz="18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332505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bg bwMode="gray"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9" descr="logo_white_0-02.eps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4631" y="6230941"/>
            <a:ext cx="89723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8"/>
          <p:cNvGrpSpPr>
            <a:grpSpLocks/>
          </p:cNvGrpSpPr>
          <p:nvPr userDrawn="1"/>
        </p:nvGrpSpPr>
        <p:grpSpPr bwMode="auto">
          <a:xfrm flipH="1">
            <a:off x="10716010" y="1"/>
            <a:ext cx="1472816" cy="1119188"/>
            <a:chOff x="1440543" y="1418168"/>
            <a:chExt cx="769056" cy="769056"/>
          </a:xfrm>
          <a:solidFill>
            <a:srgbClr val="00A4E4"/>
          </a:solidFill>
        </p:grpSpPr>
        <p:sp>
          <p:nvSpPr>
            <p:cNvPr id="7" name="Rectangle 12"/>
            <p:cNvSpPr>
              <a:spLocks noChangeArrowheads="1"/>
            </p:cNvSpPr>
            <p:nvPr userDrawn="1"/>
          </p:nvSpPr>
          <p:spPr bwMode="gray">
            <a:xfrm rot="5400000">
              <a:off x="1701732" y="1156979"/>
              <a:ext cx="246678" cy="7690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defTabSz="914012" eaLnBrk="1" hangingPunct="1"/>
              <a:endParaRPr lang="en-US" altLang="en-US" sz="1800" dirty="0">
                <a:solidFill>
                  <a:srgbClr val="00A4E4"/>
                </a:solidFill>
              </a:endParaRPr>
            </a:p>
          </p:txBody>
        </p:sp>
        <p:sp>
          <p:nvSpPr>
            <p:cNvPr id="8" name="Rectangle 13"/>
            <p:cNvSpPr>
              <a:spLocks noChangeArrowheads="1"/>
            </p:cNvSpPr>
            <p:nvPr userDrawn="1"/>
          </p:nvSpPr>
          <p:spPr bwMode="gray">
            <a:xfrm>
              <a:off x="1440543" y="1418168"/>
              <a:ext cx="246555" cy="7690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defTabSz="914012" eaLnBrk="1" hangingPunct="1"/>
              <a:endParaRPr lang="en-US" altLang="en-US" sz="1800" dirty="0">
                <a:solidFill>
                  <a:srgbClr val="00A4E4"/>
                </a:solidFill>
              </a:endParaRPr>
            </a:p>
          </p:txBody>
        </p:sp>
      </p:grpSp>
      <p:sp>
        <p:nvSpPr>
          <p:cNvPr id="70658" name="Title Placeholder 22"/>
          <p:cNvSpPr>
            <a:spLocks noGrp="1"/>
          </p:cNvSpPr>
          <p:nvPr>
            <p:ph type="ctrTitle"/>
          </p:nvPr>
        </p:nvSpPr>
        <p:spPr bwMode="gray">
          <a:xfrm>
            <a:off x="821055" y="1911353"/>
            <a:ext cx="8773415" cy="1279525"/>
          </a:xfrm>
        </p:spPr>
        <p:txBody>
          <a:bodyPr wrap="square"/>
          <a:lstStyle>
            <a:lvl1pPr>
              <a:defRPr sz="36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subTitle" idx="1"/>
          </p:nvPr>
        </p:nvSpPr>
        <p:spPr>
          <a:xfrm>
            <a:off x="821055" y="3262313"/>
            <a:ext cx="8773415" cy="639762"/>
          </a:xfrm>
        </p:spPr>
        <p:txBody>
          <a:bodyPr/>
          <a:lstStyle>
            <a:lvl1pPr marL="0" indent="0">
              <a:buFont typeface="Wingdings" charset="0"/>
              <a:buNone/>
              <a:defRPr sz="18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17535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412715" y="6235337"/>
            <a:ext cx="166670" cy="83099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>
              <a:defRPr lang="en-US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ctr"/>
            <a:fld id="{7505E45A-03BB-464B-8278-1A9522AE72B1}" type="slidenum">
              <a:rPr lang="en-US" smtClean="0"/>
              <a:pPr algn="ctr"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609441" y="869061"/>
            <a:ext cx="10969943" cy="493776"/>
          </a:xfrm>
        </p:spPr>
        <p:txBody>
          <a:bodyPr vert="horz" lIns="0" tIns="0" rIns="0" bIns="0" rtlCol="0">
            <a:noAutofit/>
          </a:bodyPr>
          <a:lstStyle>
            <a:lvl1pPr marL="0" indent="0">
              <a:buFontTx/>
              <a:buNone/>
              <a:defRPr lang="en-US" sz="160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2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510907" y="6220265"/>
            <a:ext cx="6983182" cy="492125"/>
          </a:xfrm>
        </p:spPr>
        <p:txBody>
          <a:bodyPr anchor="b" anchorCtr="0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lang="en-US" sz="8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Source: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43411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2.jpe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3" Type="http://schemas.openxmlformats.org/officeDocument/2006/relationships/slideLayout" Target="../slideLayouts/slideLayout49.xml"/><Relationship Id="rId7" Type="http://schemas.openxmlformats.org/officeDocument/2006/relationships/vmlDrawing" Target="../drawings/vmlDrawing9.v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theme" Target="../theme/theme10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50.xml"/><Relationship Id="rId9" Type="http://schemas.openxmlformats.org/officeDocument/2006/relationships/oleObject" Target="../embeddings/oleObject9.bin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oleObject" Target="../embeddings/oleObject10.bin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tags" Target="../tags/tag19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vmlDrawing" Target="../drawings/vmlDrawing10.vml"/><Relationship Id="rId5" Type="http://schemas.openxmlformats.org/officeDocument/2006/relationships/slideLayout" Target="../slideLayouts/slideLayout56.xml"/><Relationship Id="rId15" Type="http://schemas.openxmlformats.org/officeDocument/2006/relationships/image" Target="../media/image2.jpeg"/><Relationship Id="rId10" Type="http://schemas.openxmlformats.org/officeDocument/2006/relationships/theme" Target="../theme/theme11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image" Target="../media/image1.emf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1.vml"/><Relationship Id="rId3" Type="http://schemas.openxmlformats.org/officeDocument/2006/relationships/slideLayout" Target="../slideLayouts/slideLayout63.xml"/><Relationship Id="rId7" Type="http://schemas.openxmlformats.org/officeDocument/2006/relationships/theme" Target="../theme/theme12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5.xml"/><Relationship Id="rId10" Type="http://schemas.openxmlformats.org/officeDocument/2006/relationships/oleObject" Target="../embeddings/oleObject11.bin"/><Relationship Id="rId4" Type="http://schemas.openxmlformats.org/officeDocument/2006/relationships/slideLayout" Target="../slideLayouts/slideLayout64.xml"/><Relationship Id="rId9" Type="http://schemas.openxmlformats.org/officeDocument/2006/relationships/tags" Target="../tags/tag24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3" Type="http://schemas.openxmlformats.org/officeDocument/2006/relationships/slideLayout" Target="../slideLayouts/slideLayout69.xml"/><Relationship Id="rId7" Type="http://schemas.openxmlformats.org/officeDocument/2006/relationships/vmlDrawing" Target="../drawings/vmlDrawing12.v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theme" Target="../theme/theme13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7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70.xml"/><Relationship Id="rId9" Type="http://schemas.openxmlformats.org/officeDocument/2006/relationships/oleObject" Target="../embeddings/oleObject12.bin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3" Type="http://schemas.openxmlformats.org/officeDocument/2006/relationships/slideLayout" Target="../slideLayouts/slideLayout74.xml"/><Relationship Id="rId7" Type="http://schemas.openxmlformats.org/officeDocument/2006/relationships/vmlDrawing" Target="../drawings/vmlDrawing13.vml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theme" Target="../theme/theme14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76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75.xml"/><Relationship Id="rId9" Type="http://schemas.openxmlformats.org/officeDocument/2006/relationships/oleObject" Target="../embeddings/oleObject13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8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7.xml"/><Relationship Id="rId9" Type="http://schemas.openxmlformats.org/officeDocument/2006/relationships/vmlDrawing" Target="../drawings/vmlDrawing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13.xml"/><Relationship Id="rId7" Type="http://schemas.openxmlformats.org/officeDocument/2006/relationships/vmlDrawing" Target="../drawings/vmlDrawing3.v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3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1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4.xml"/><Relationship Id="rId9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slideLayout" Target="../slideLayouts/slideLayout18.xml"/><Relationship Id="rId7" Type="http://schemas.openxmlformats.org/officeDocument/2006/relationships/tags" Target="../tags/tag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vmlDrawing" Target="../drawings/vmlDrawing4.vml"/><Relationship Id="rId5" Type="http://schemas.openxmlformats.org/officeDocument/2006/relationships/theme" Target="../theme/theme4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5.emf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2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6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tags" Target="../tags/tag10.xml"/><Relationship Id="rId5" Type="http://schemas.openxmlformats.org/officeDocument/2006/relationships/vmlDrawing" Target="../drawings/vmlDrawing5.vml"/><Relationship Id="rId4" Type="http://schemas.openxmlformats.org/officeDocument/2006/relationships/theme" Target="../theme/theme6.xml"/><Relationship Id="rId9" Type="http://schemas.openxmlformats.org/officeDocument/2006/relationships/image" Target="../media/image2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oleObject" Target="../embeddings/oleObject6.bin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tags" Target="../tags/tag11.xml"/><Relationship Id="rId5" Type="http://schemas.openxmlformats.org/officeDocument/2006/relationships/slideLayout" Target="../slideLayouts/slideLayout31.xml"/><Relationship Id="rId10" Type="http://schemas.openxmlformats.org/officeDocument/2006/relationships/vmlDrawing" Target="../drawings/vmlDrawing6.vml"/><Relationship Id="rId4" Type="http://schemas.openxmlformats.org/officeDocument/2006/relationships/slideLayout" Target="../slideLayouts/slideLayout30.xml"/><Relationship Id="rId9" Type="http://schemas.openxmlformats.org/officeDocument/2006/relationships/theme" Target="../theme/theme7.xml"/><Relationship Id="rId14" Type="http://schemas.openxmlformats.org/officeDocument/2006/relationships/image" Target="../media/image2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oleObject" Target="../embeddings/oleObject7.bin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tags" Target="../tags/tag13.xml"/><Relationship Id="rId5" Type="http://schemas.openxmlformats.org/officeDocument/2006/relationships/slideLayout" Target="../slideLayouts/slideLayout39.xml"/><Relationship Id="rId10" Type="http://schemas.openxmlformats.org/officeDocument/2006/relationships/vmlDrawing" Target="../drawings/vmlDrawing7.vml"/><Relationship Id="rId4" Type="http://schemas.openxmlformats.org/officeDocument/2006/relationships/slideLayout" Target="../slideLayouts/slideLayout38.xml"/><Relationship Id="rId9" Type="http://schemas.openxmlformats.org/officeDocument/2006/relationships/theme" Target="../theme/theme8.xml"/><Relationship Id="rId14" Type="http://schemas.openxmlformats.org/officeDocument/2006/relationships/image" Target="../media/image2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slideLayout" Target="../slideLayouts/slideLayout45.xml"/><Relationship Id="rId7" Type="http://schemas.openxmlformats.org/officeDocument/2006/relationships/tags" Target="../tags/tag15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vmlDrawing" Target="../drawings/vmlDrawing8.vml"/><Relationship Id="rId5" Type="http://schemas.openxmlformats.org/officeDocument/2006/relationships/theme" Target="../theme/theme9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6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2119" y="1591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404" name="think-cell Slide" r:id="rId7" imgW="493" imgH="493" progId="TCLayout.ActiveDocument.1">
                  <p:embed/>
                </p:oleObj>
              </mc:Choice>
              <mc:Fallback>
                <p:oleObj name="think-cell Slide" r:id="rId7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ext Placeholder 23"/>
          <p:cNvSpPr>
            <a:spLocks noGrp="1"/>
          </p:cNvSpPr>
          <p:nvPr>
            <p:ph type="body" idx="1"/>
          </p:nvPr>
        </p:nvSpPr>
        <p:spPr bwMode="gray">
          <a:xfrm>
            <a:off x="732183" y="1352550"/>
            <a:ext cx="10724474" cy="4637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027" name="Slide Number Placeholder 5"/>
          <p:cNvSpPr txBox="1">
            <a:spLocks/>
          </p:cNvSpPr>
          <p:nvPr/>
        </p:nvSpPr>
        <p:spPr bwMode="gray">
          <a:xfrm>
            <a:off x="11617367" y="6548550"/>
            <a:ext cx="376669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457006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C91E6528-19E5-42D5-B881-BBFA005AB1FE}" type="slidenum">
              <a:rPr lang="en-US" altLang="en-US" sz="800" smtClean="0">
                <a:solidFill>
                  <a:srgbClr val="000000">
                    <a:lumMod val="50000"/>
                    <a:lumOff val="50000"/>
                  </a:srgbClr>
                </a:solidFill>
                <a:latin typeface="Century Gothic" panose="020B0502020202020204" pitchFamily="34" charset="0"/>
              </a:rPr>
              <a:pPr algn="ctr" defTabSz="45700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 sz="800" dirty="0" smtClean="0">
              <a:solidFill>
                <a:srgbClr val="000000">
                  <a:lumMod val="50000"/>
                  <a:lumOff val="50000"/>
                </a:srgbClr>
              </a:solidFill>
              <a:latin typeface="Century Gothic" panose="020B0502020202020204" pitchFamily="34" charset="0"/>
            </a:endParaRPr>
          </a:p>
        </p:txBody>
      </p:sp>
      <p:sp>
        <p:nvSpPr>
          <p:cNvPr id="1028" name="Title Placeholder 22"/>
          <p:cNvSpPr>
            <a:spLocks noGrp="1"/>
          </p:cNvSpPr>
          <p:nvPr>
            <p:ph type="title"/>
          </p:nvPr>
        </p:nvSpPr>
        <p:spPr bwMode="black">
          <a:xfrm>
            <a:off x="732183" y="552453"/>
            <a:ext cx="10724474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 smtClean="0"/>
              <a:t>Click to edit Master title style</a:t>
            </a:r>
          </a:p>
        </p:txBody>
      </p:sp>
      <p:pic>
        <p:nvPicPr>
          <p:cNvPr id="1029" name="Picture 7" descr="AIG_PRI_pms2995.jp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609441" y="6246820"/>
            <a:ext cx="899349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30" name="Group 8"/>
          <p:cNvGrpSpPr>
            <a:grpSpLocks/>
          </p:cNvGrpSpPr>
          <p:nvPr userDrawn="1"/>
        </p:nvGrpSpPr>
        <p:grpSpPr bwMode="auto">
          <a:xfrm flipH="1">
            <a:off x="10716010" y="1"/>
            <a:ext cx="1472816" cy="1119188"/>
            <a:chOff x="1440543" y="1418168"/>
            <a:chExt cx="769056" cy="769056"/>
          </a:xfrm>
        </p:grpSpPr>
        <p:sp>
          <p:nvSpPr>
            <p:cNvPr id="1031" name="Rectangle 15"/>
            <p:cNvSpPr>
              <a:spLocks noChangeArrowheads="1"/>
            </p:cNvSpPr>
            <p:nvPr userDrawn="1"/>
          </p:nvSpPr>
          <p:spPr bwMode="gray">
            <a:xfrm rot="5400000">
              <a:off x="1701804" y="1156907"/>
              <a:ext cx="246534" cy="769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defTabSz="45700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dirty="0" smtClean="0">
                <a:solidFill>
                  <a:srgbClr val="00A4E4"/>
                </a:solidFill>
              </a:endParaRPr>
            </a:p>
          </p:txBody>
        </p:sp>
        <p:sp>
          <p:nvSpPr>
            <p:cNvPr id="1032" name="Rectangle 16"/>
            <p:cNvSpPr>
              <a:spLocks noChangeArrowheads="1"/>
            </p:cNvSpPr>
            <p:nvPr userDrawn="1"/>
          </p:nvSpPr>
          <p:spPr bwMode="gray">
            <a:xfrm>
              <a:off x="1440543" y="1418168"/>
              <a:ext cx="246407" cy="769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defTabSz="45700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dirty="0" smtClean="0">
                <a:solidFill>
                  <a:srgbClr val="00A4E4"/>
                </a:solidFill>
              </a:endParaRPr>
            </a:p>
          </p:txBody>
        </p:sp>
      </p:grpSp>
      <p:sp>
        <p:nvSpPr>
          <p:cNvPr id="12" name="Rectangle 11"/>
          <p:cNvSpPr/>
          <p:nvPr userDrawn="1"/>
        </p:nvSpPr>
        <p:spPr>
          <a:xfrm>
            <a:off x="7901311" y="6596390"/>
            <a:ext cx="284882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FIDENTIAL DRAFT. DO NOT DISTRIBUTE.</a:t>
            </a:r>
            <a:endParaRPr lang="en-US" sz="1100" b="1" dirty="0"/>
          </a:p>
        </p:txBody>
      </p:sp>
    </p:spTree>
    <p:extLst>
      <p:ext uri="{BB962C8B-B14F-4D97-AF65-F5344CB8AC3E}">
        <p14:creationId xmlns:p14="http://schemas.microsoft.com/office/powerpoint/2010/main" val="1429227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+mj-lt"/>
          <a:ea typeface="MS PGothic" pitchFamily="34" charset="-128"/>
          <a:cs typeface="+mj-cs"/>
        </a:defRPr>
      </a:lvl1pPr>
      <a:lvl2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2pPr>
      <a:lvl3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3pPr>
      <a:lvl4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4pPr>
      <a:lvl5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5pPr>
      <a:lvl6pPr marL="457006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6pPr>
      <a:lvl7pPr marL="914012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7pPr>
      <a:lvl8pPr marL="1371018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8pPr>
      <a:lvl9pPr marL="1828024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9pPr>
    </p:titleStyle>
    <p:bodyStyle>
      <a:lvl1pPr marL="177724" indent="-177724" algn="l" defTabSz="457006" rtl="0" eaLnBrk="0" fontAlgn="base" hangingPunct="0">
        <a:spcBef>
          <a:spcPts val="1200"/>
        </a:spcBef>
        <a:spcAft>
          <a:spcPct val="0"/>
        </a:spcAft>
        <a:buClr>
          <a:srgbClr val="00A4E4"/>
        </a:buClr>
        <a:buFont typeface="Wingdings" pitchFamily="2" charset="2"/>
        <a:buChar char="§"/>
        <a:tabLst>
          <a:tab pos="8002366" algn="r"/>
        </a:tabLst>
        <a:defRPr sz="1400">
          <a:solidFill>
            <a:srgbClr val="000000"/>
          </a:solidFill>
          <a:latin typeface="+mn-lt"/>
          <a:ea typeface="MS PGothic" pitchFamily="34" charset="-128"/>
          <a:cs typeface="+mn-cs"/>
        </a:defRPr>
      </a:lvl1pPr>
      <a:lvl2pPr marL="361797" indent="-171377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–"/>
        <a:tabLst>
          <a:tab pos="8002366" algn="r"/>
        </a:tabLst>
        <a:defRPr sz="1200">
          <a:solidFill>
            <a:srgbClr val="000000"/>
          </a:solidFill>
          <a:latin typeface="+mn-lt"/>
          <a:ea typeface="MS PGothic" pitchFamily="34" charset="-128"/>
          <a:cs typeface="+mn-cs"/>
        </a:defRPr>
      </a:lvl2pPr>
      <a:lvl3pPr marL="501436" indent="-139641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•"/>
        <a:tabLst>
          <a:tab pos="8002366" algn="r"/>
        </a:tabLst>
        <a:defRPr sz="1000">
          <a:solidFill>
            <a:srgbClr val="000000"/>
          </a:solidFill>
          <a:latin typeface="+mn-lt"/>
          <a:ea typeface="MS PGothic" pitchFamily="34" charset="-128"/>
          <a:cs typeface="+mn-cs"/>
        </a:defRPr>
      </a:lvl3pPr>
      <a:lvl4pPr marL="647425" indent="-152335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–"/>
        <a:tabLst>
          <a:tab pos="8002366" algn="r"/>
        </a:tabLst>
        <a:defRPr sz="1000">
          <a:solidFill>
            <a:srgbClr val="000000"/>
          </a:solidFill>
          <a:latin typeface="+mn-lt"/>
          <a:ea typeface="MS PGothic" pitchFamily="34" charset="-128"/>
          <a:cs typeface="+mn-cs"/>
        </a:defRPr>
      </a:lvl4pPr>
      <a:lvl5pPr marL="791827" indent="-144403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MS PGothic" pitchFamily="34" charset="-128"/>
          <a:cs typeface="+mn-cs"/>
        </a:defRPr>
      </a:lvl5pPr>
      <a:lvl6pPr marL="1248832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6pPr>
      <a:lvl7pPr marL="1705839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7pPr>
      <a:lvl8pPr marL="2162845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8pPr>
      <a:lvl9pPr marL="2619851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06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1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18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24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03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036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04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048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2119" y="1591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5192" name="think-cell Slide" r:id="rId9" imgW="493" imgH="493" progId="TCLayout.ActiveDocument.1">
                  <p:embed/>
                </p:oleObj>
              </mc:Choice>
              <mc:Fallback>
                <p:oleObj name="think-cell Slide" r:id="rId9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ext Placeholder 23"/>
          <p:cNvSpPr>
            <a:spLocks noGrp="1"/>
          </p:cNvSpPr>
          <p:nvPr>
            <p:ph type="body" idx="1"/>
          </p:nvPr>
        </p:nvSpPr>
        <p:spPr bwMode="gray">
          <a:xfrm>
            <a:off x="732183" y="1352550"/>
            <a:ext cx="10724474" cy="4637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027" name="Slide Number Placeholder 5"/>
          <p:cNvSpPr txBox="1">
            <a:spLocks/>
          </p:cNvSpPr>
          <p:nvPr/>
        </p:nvSpPr>
        <p:spPr bwMode="gray">
          <a:xfrm>
            <a:off x="11617367" y="6548550"/>
            <a:ext cx="376669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457006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C91E6528-19E5-42D5-B881-BBFA005AB1FE}" type="slidenum">
              <a:rPr lang="en-US" altLang="en-US" sz="8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algn="ctr" defTabSz="45700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 sz="800" dirty="0" smtClean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1028" name="Title Placeholder 22"/>
          <p:cNvSpPr>
            <a:spLocks noGrp="1"/>
          </p:cNvSpPr>
          <p:nvPr>
            <p:ph type="title"/>
          </p:nvPr>
        </p:nvSpPr>
        <p:spPr bwMode="black">
          <a:xfrm>
            <a:off x="732183" y="552453"/>
            <a:ext cx="10724474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 smtClean="0"/>
              <a:t>Click to edit Master title style</a:t>
            </a:r>
          </a:p>
        </p:txBody>
      </p:sp>
      <p:pic>
        <p:nvPicPr>
          <p:cNvPr id="1029" name="Picture 7" descr="AIG_PRI_pms2995.jpg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609441" y="6246820"/>
            <a:ext cx="899349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30" name="Group 8"/>
          <p:cNvGrpSpPr>
            <a:grpSpLocks/>
          </p:cNvGrpSpPr>
          <p:nvPr userDrawn="1"/>
        </p:nvGrpSpPr>
        <p:grpSpPr bwMode="auto">
          <a:xfrm flipH="1">
            <a:off x="10716010" y="1"/>
            <a:ext cx="1472816" cy="1119188"/>
            <a:chOff x="1440543" y="1418168"/>
            <a:chExt cx="769056" cy="769056"/>
          </a:xfrm>
        </p:grpSpPr>
        <p:sp>
          <p:nvSpPr>
            <p:cNvPr id="1031" name="Rectangle 15"/>
            <p:cNvSpPr>
              <a:spLocks noChangeArrowheads="1"/>
            </p:cNvSpPr>
            <p:nvPr userDrawn="1"/>
          </p:nvSpPr>
          <p:spPr bwMode="gray">
            <a:xfrm rot="5400000">
              <a:off x="1701804" y="1156907"/>
              <a:ext cx="246534" cy="769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defTabSz="45700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dirty="0" smtClean="0">
                <a:solidFill>
                  <a:srgbClr val="00A4E4"/>
                </a:solidFill>
              </a:endParaRPr>
            </a:p>
          </p:txBody>
        </p:sp>
        <p:sp>
          <p:nvSpPr>
            <p:cNvPr id="1032" name="Rectangle 16"/>
            <p:cNvSpPr>
              <a:spLocks noChangeArrowheads="1"/>
            </p:cNvSpPr>
            <p:nvPr userDrawn="1"/>
          </p:nvSpPr>
          <p:spPr bwMode="gray">
            <a:xfrm>
              <a:off x="1440543" y="1418168"/>
              <a:ext cx="246407" cy="769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defTabSz="45700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dirty="0" smtClean="0">
                <a:solidFill>
                  <a:srgbClr val="00A4E4"/>
                </a:solidFill>
              </a:endParaRPr>
            </a:p>
          </p:txBody>
        </p:sp>
      </p:grpSp>
      <p:sp>
        <p:nvSpPr>
          <p:cNvPr id="11" name="Rectangle 10"/>
          <p:cNvSpPr/>
          <p:nvPr userDrawn="1"/>
        </p:nvSpPr>
        <p:spPr>
          <a:xfrm>
            <a:off x="7901311" y="6596390"/>
            <a:ext cx="284882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FIDENTIAL DRAFT. DO NOT DISTRIBUTE.</a:t>
            </a:r>
            <a:endParaRPr lang="en-US" sz="11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33120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70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+mj-lt"/>
          <a:ea typeface="MS PGothic" pitchFamily="34" charset="-128"/>
          <a:cs typeface="+mj-cs"/>
        </a:defRPr>
      </a:lvl1pPr>
      <a:lvl2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2pPr>
      <a:lvl3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3pPr>
      <a:lvl4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4pPr>
      <a:lvl5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5pPr>
      <a:lvl6pPr marL="457006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6pPr>
      <a:lvl7pPr marL="914012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7pPr>
      <a:lvl8pPr marL="1371018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8pPr>
      <a:lvl9pPr marL="1828024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9pPr>
    </p:titleStyle>
    <p:bodyStyle>
      <a:lvl1pPr marL="177724" indent="-177724" algn="l" defTabSz="457006" rtl="0" eaLnBrk="0" fontAlgn="base" hangingPunct="0">
        <a:spcBef>
          <a:spcPts val="1200"/>
        </a:spcBef>
        <a:spcAft>
          <a:spcPct val="0"/>
        </a:spcAft>
        <a:buClr>
          <a:srgbClr val="00A4E4"/>
        </a:buClr>
        <a:buFont typeface="Wingdings" pitchFamily="2" charset="2"/>
        <a:buChar char="§"/>
        <a:tabLst>
          <a:tab pos="8002366" algn="r"/>
        </a:tabLst>
        <a:defRPr sz="1400">
          <a:solidFill>
            <a:srgbClr val="000000"/>
          </a:solidFill>
          <a:latin typeface="+mn-lt"/>
          <a:ea typeface="MS PGothic" pitchFamily="34" charset="-128"/>
          <a:cs typeface="+mn-cs"/>
        </a:defRPr>
      </a:lvl1pPr>
      <a:lvl2pPr marL="361797" indent="-171377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–"/>
        <a:tabLst>
          <a:tab pos="8002366" algn="r"/>
        </a:tabLst>
        <a:defRPr sz="1200">
          <a:solidFill>
            <a:srgbClr val="000000"/>
          </a:solidFill>
          <a:latin typeface="+mn-lt"/>
          <a:ea typeface="MS PGothic" pitchFamily="34" charset="-128"/>
          <a:cs typeface="+mn-cs"/>
        </a:defRPr>
      </a:lvl2pPr>
      <a:lvl3pPr marL="501436" indent="-139641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•"/>
        <a:tabLst>
          <a:tab pos="8002366" algn="r"/>
        </a:tabLst>
        <a:defRPr sz="1000">
          <a:solidFill>
            <a:srgbClr val="000000"/>
          </a:solidFill>
          <a:latin typeface="+mn-lt"/>
          <a:ea typeface="MS PGothic" pitchFamily="34" charset="-128"/>
          <a:cs typeface="+mn-cs"/>
        </a:defRPr>
      </a:lvl3pPr>
      <a:lvl4pPr marL="647425" indent="-152335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–"/>
        <a:tabLst>
          <a:tab pos="8002366" algn="r"/>
        </a:tabLst>
        <a:defRPr sz="1000">
          <a:solidFill>
            <a:srgbClr val="000000"/>
          </a:solidFill>
          <a:latin typeface="+mn-lt"/>
          <a:ea typeface="MS PGothic" pitchFamily="34" charset="-128"/>
          <a:cs typeface="+mn-cs"/>
        </a:defRPr>
      </a:lvl4pPr>
      <a:lvl5pPr marL="791827" indent="-144403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MS PGothic" pitchFamily="34" charset="-128"/>
          <a:cs typeface="+mn-cs"/>
        </a:defRPr>
      </a:lvl5pPr>
      <a:lvl6pPr marL="1248832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6pPr>
      <a:lvl7pPr marL="1705839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7pPr>
      <a:lvl8pPr marL="2162845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8pPr>
      <a:lvl9pPr marL="2619851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06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1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18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24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03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036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04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048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/>
          </p:nvPr>
        </p:nvGraphicFramePr>
        <p:xfrm>
          <a:off x="2119" y="1591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388" name="think-cell Slide" r:id="rId13" imgW="493" imgH="493" progId="TCLayout.ActiveDocument.1">
                  <p:embed/>
                </p:oleObj>
              </mc:Choice>
              <mc:Fallback>
                <p:oleObj name="think-cell Slide" r:id="rId13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ext Placeholder 23"/>
          <p:cNvSpPr>
            <a:spLocks noGrp="1"/>
          </p:cNvSpPr>
          <p:nvPr>
            <p:ph type="body" idx="1"/>
          </p:nvPr>
        </p:nvSpPr>
        <p:spPr bwMode="gray">
          <a:xfrm>
            <a:off x="732183" y="1352550"/>
            <a:ext cx="10724474" cy="4637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027" name="Slide Number Placeholder 5"/>
          <p:cNvSpPr txBox="1">
            <a:spLocks/>
          </p:cNvSpPr>
          <p:nvPr/>
        </p:nvSpPr>
        <p:spPr bwMode="gray">
          <a:xfrm>
            <a:off x="11617367" y="6548550"/>
            <a:ext cx="376669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457006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C91E6528-19E5-42D5-B881-BBFA005AB1FE}" type="slidenum">
              <a:rPr lang="en-US" altLang="en-US" sz="8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algn="ctr" defTabSz="45700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 sz="800" dirty="0" smtClean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1028" name="Title Placeholder 22"/>
          <p:cNvSpPr>
            <a:spLocks noGrp="1"/>
          </p:cNvSpPr>
          <p:nvPr>
            <p:ph type="title"/>
          </p:nvPr>
        </p:nvSpPr>
        <p:spPr bwMode="black">
          <a:xfrm>
            <a:off x="732183" y="552453"/>
            <a:ext cx="10724474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 smtClean="0"/>
              <a:t>Click to edit Master title style</a:t>
            </a:r>
          </a:p>
        </p:txBody>
      </p:sp>
      <p:pic>
        <p:nvPicPr>
          <p:cNvPr id="1029" name="Picture 7" descr="AIG_PRI_pms2995.jpg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609441" y="6314556"/>
            <a:ext cx="899349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30" name="Group 8"/>
          <p:cNvGrpSpPr>
            <a:grpSpLocks/>
          </p:cNvGrpSpPr>
          <p:nvPr userDrawn="1"/>
        </p:nvGrpSpPr>
        <p:grpSpPr bwMode="auto">
          <a:xfrm flipH="1">
            <a:off x="10716010" y="1"/>
            <a:ext cx="1472816" cy="1119188"/>
            <a:chOff x="1440543" y="1418168"/>
            <a:chExt cx="769056" cy="769056"/>
          </a:xfrm>
        </p:grpSpPr>
        <p:sp>
          <p:nvSpPr>
            <p:cNvPr id="1031" name="Rectangle 15"/>
            <p:cNvSpPr>
              <a:spLocks noChangeArrowheads="1"/>
            </p:cNvSpPr>
            <p:nvPr userDrawn="1"/>
          </p:nvSpPr>
          <p:spPr bwMode="gray">
            <a:xfrm rot="5400000">
              <a:off x="1701804" y="1156907"/>
              <a:ext cx="246534" cy="769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defTabSz="45700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dirty="0" smtClean="0">
                <a:solidFill>
                  <a:srgbClr val="00A4E4"/>
                </a:solidFill>
              </a:endParaRPr>
            </a:p>
          </p:txBody>
        </p:sp>
        <p:sp>
          <p:nvSpPr>
            <p:cNvPr id="1032" name="Rectangle 16"/>
            <p:cNvSpPr>
              <a:spLocks noChangeArrowheads="1"/>
            </p:cNvSpPr>
            <p:nvPr userDrawn="1"/>
          </p:nvSpPr>
          <p:spPr bwMode="gray">
            <a:xfrm>
              <a:off x="1440543" y="1418168"/>
              <a:ext cx="246407" cy="769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defTabSz="45700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dirty="0" smtClean="0">
                <a:solidFill>
                  <a:srgbClr val="00A4E4"/>
                </a:solidFill>
              </a:endParaRPr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7700583" y="519"/>
            <a:ext cx="231955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012"/>
            <a:r>
              <a:rPr lang="en-US" sz="1200" b="1" dirty="0" smtClean="0">
                <a:solidFill>
                  <a:srgbClr val="C00000"/>
                </a:solidFill>
                <a:latin typeface="Century Gothic" panose="020B0502020202020204" pitchFamily="34" charset="0"/>
              </a:rPr>
              <a:t>PRIVATE AND CONFIDENTIAL</a:t>
            </a:r>
            <a:endParaRPr lang="en-US" sz="1200" b="1" dirty="0">
              <a:solidFill>
                <a:srgbClr val="C00000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33229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806" r:id="rId8"/>
    <p:sldLayoutId id="2147483807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+mj-lt"/>
          <a:ea typeface="MS PGothic" pitchFamily="34" charset="-128"/>
          <a:cs typeface="+mj-cs"/>
        </a:defRPr>
      </a:lvl1pPr>
      <a:lvl2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2pPr>
      <a:lvl3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3pPr>
      <a:lvl4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4pPr>
      <a:lvl5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5pPr>
      <a:lvl6pPr marL="457006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6pPr>
      <a:lvl7pPr marL="914012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7pPr>
      <a:lvl8pPr marL="1371018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8pPr>
      <a:lvl9pPr marL="1828024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9pPr>
    </p:titleStyle>
    <p:bodyStyle>
      <a:lvl1pPr marL="177724" indent="-177724" algn="l" defTabSz="457006" rtl="0" eaLnBrk="0" fontAlgn="base" hangingPunct="0">
        <a:spcBef>
          <a:spcPts val="1200"/>
        </a:spcBef>
        <a:spcAft>
          <a:spcPct val="0"/>
        </a:spcAft>
        <a:buClr>
          <a:srgbClr val="00A4E4"/>
        </a:buClr>
        <a:buFont typeface="Wingdings" pitchFamily="2" charset="2"/>
        <a:buChar char="§"/>
        <a:tabLst>
          <a:tab pos="8002366" algn="r"/>
        </a:tabLst>
        <a:defRPr sz="1400">
          <a:solidFill>
            <a:srgbClr val="000000"/>
          </a:solidFill>
          <a:latin typeface="+mn-lt"/>
          <a:ea typeface="MS PGothic" pitchFamily="34" charset="-128"/>
          <a:cs typeface="+mn-cs"/>
        </a:defRPr>
      </a:lvl1pPr>
      <a:lvl2pPr marL="361797" indent="-171377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–"/>
        <a:tabLst>
          <a:tab pos="8002366" algn="r"/>
        </a:tabLst>
        <a:defRPr sz="1200">
          <a:solidFill>
            <a:srgbClr val="000000"/>
          </a:solidFill>
          <a:latin typeface="+mn-lt"/>
          <a:ea typeface="MS PGothic" pitchFamily="34" charset="-128"/>
          <a:cs typeface="+mn-cs"/>
        </a:defRPr>
      </a:lvl2pPr>
      <a:lvl3pPr marL="501436" indent="-139641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•"/>
        <a:tabLst>
          <a:tab pos="8002366" algn="r"/>
        </a:tabLst>
        <a:defRPr sz="1000">
          <a:solidFill>
            <a:srgbClr val="000000"/>
          </a:solidFill>
          <a:latin typeface="+mn-lt"/>
          <a:ea typeface="MS PGothic" pitchFamily="34" charset="-128"/>
          <a:cs typeface="+mn-cs"/>
        </a:defRPr>
      </a:lvl3pPr>
      <a:lvl4pPr marL="647425" indent="-152335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–"/>
        <a:tabLst>
          <a:tab pos="8002366" algn="r"/>
        </a:tabLst>
        <a:defRPr sz="1000">
          <a:solidFill>
            <a:srgbClr val="000000"/>
          </a:solidFill>
          <a:latin typeface="+mn-lt"/>
          <a:ea typeface="MS PGothic" pitchFamily="34" charset="-128"/>
          <a:cs typeface="+mn-cs"/>
        </a:defRPr>
      </a:lvl4pPr>
      <a:lvl5pPr marL="791827" indent="-144403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MS PGothic" pitchFamily="34" charset="-128"/>
          <a:cs typeface="+mn-cs"/>
        </a:defRPr>
      </a:lvl5pPr>
      <a:lvl6pPr marL="1248832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6pPr>
      <a:lvl7pPr marL="1705839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7pPr>
      <a:lvl8pPr marL="2162845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8pPr>
      <a:lvl9pPr marL="2619851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06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1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18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24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03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036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04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048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590677080"/>
              </p:ext>
            </p:extLst>
          </p:nvPr>
        </p:nvGraphicFramePr>
        <p:xfrm>
          <a:off x="2123" y="1590"/>
          <a:ext cx="2115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379" name="think-cell Slide" r:id="rId10" imgW="493" imgH="493" progId="TCLayout.ActiveDocument.1">
                  <p:embed/>
                </p:oleObj>
              </mc:Choice>
              <mc:Fallback>
                <p:oleObj name="think-cell Slide" r:id="rId10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23" y="1590"/>
                        <a:ext cx="2115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ext Placeholder 23"/>
          <p:cNvSpPr>
            <a:spLocks noGrp="1"/>
          </p:cNvSpPr>
          <p:nvPr>
            <p:ph type="body" idx="1"/>
          </p:nvPr>
        </p:nvSpPr>
        <p:spPr bwMode="gray">
          <a:xfrm>
            <a:off x="732183" y="1352550"/>
            <a:ext cx="10724474" cy="4637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027" name="Slide Number Placeholder 5"/>
          <p:cNvSpPr txBox="1">
            <a:spLocks/>
          </p:cNvSpPr>
          <p:nvPr/>
        </p:nvSpPr>
        <p:spPr bwMode="gray">
          <a:xfrm>
            <a:off x="11617377" y="6548550"/>
            <a:ext cx="376669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457006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C91E6528-19E5-42D5-B881-BBFA005AB1FE}" type="slidenum">
              <a:rPr lang="en-US" altLang="en-US" sz="8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algn="ctr" defTabSz="45700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 sz="800" dirty="0" smtClean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1028" name="Title Placeholder 22"/>
          <p:cNvSpPr>
            <a:spLocks noGrp="1"/>
          </p:cNvSpPr>
          <p:nvPr>
            <p:ph type="title"/>
          </p:nvPr>
        </p:nvSpPr>
        <p:spPr bwMode="black">
          <a:xfrm>
            <a:off x="732183" y="552453"/>
            <a:ext cx="10724474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 smtClean="0"/>
              <a:t>Click to edit Master title style</a:t>
            </a:r>
          </a:p>
        </p:txBody>
      </p:sp>
      <p:pic>
        <p:nvPicPr>
          <p:cNvPr id="1029" name="Picture 7" descr="AIG_PRI_pms2995.jpg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609441" y="6246825"/>
            <a:ext cx="899349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30" name="Group 8"/>
          <p:cNvGrpSpPr>
            <a:grpSpLocks/>
          </p:cNvGrpSpPr>
          <p:nvPr userDrawn="1"/>
        </p:nvGrpSpPr>
        <p:grpSpPr bwMode="auto">
          <a:xfrm flipH="1">
            <a:off x="10716010" y="4"/>
            <a:ext cx="1472816" cy="1119188"/>
            <a:chOff x="1440543" y="1418168"/>
            <a:chExt cx="769056" cy="769056"/>
          </a:xfrm>
        </p:grpSpPr>
        <p:sp>
          <p:nvSpPr>
            <p:cNvPr id="1031" name="Rectangle 15"/>
            <p:cNvSpPr>
              <a:spLocks noChangeArrowheads="1"/>
            </p:cNvSpPr>
            <p:nvPr userDrawn="1"/>
          </p:nvSpPr>
          <p:spPr bwMode="gray">
            <a:xfrm rot="5400000">
              <a:off x="1701804" y="1156907"/>
              <a:ext cx="246534" cy="769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defTabSz="45700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dirty="0" smtClean="0">
                <a:solidFill>
                  <a:srgbClr val="00A4E4"/>
                </a:solidFill>
              </a:endParaRPr>
            </a:p>
          </p:txBody>
        </p:sp>
        <p:sp>
          <p:nvSpPr>
            <p:cNvPr id="1032" name="Rectangle 16"/>
            <p:cNvSpPr>
              <a:spLocks noChangeArrowheads="1"/>
            </p:cNvSpPr>
            <p:nvPr userDrawn="1"/>
          </p:nvSpPr>
          <p:spPr bwMode="gray">
            <a:xfrm>
              <a:off x="1440543" y="1418168"/>
              <a:ext cx="246407" cy="769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defTabSz="45700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dirty="0" smtClean="0">
                <a:solidFill>
                  <a:srgbClr val="00A4E4"/>
                </a:solidFill>
              </a:endParaRPr>
            </a:p>
          </p:txBody>
        </p:sp>
      </p:grpSp>
      <p:sp>
        <p:nvSpPr>
          <p:cNvPr id="11" name="Rectangle 10"/>
          <p:cNvSpPr/>
          <p:nvPr userDrawn="1"/>
        </p:nvSpPr>
        <p:spPr>
          <a:xfrm>
            <a:off x="7901309" y="6596390"/>
            <a:ext cx="241817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FIDENTIAL. DO NOT DISTRIBUTE.</a:t>
            </a:r>
            <a:endParaRPr lang="en-US" sz="11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4378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  <p:sldLayoutId id="2147483790" r:id="rId5"/>
    <p:sldLayoutId id="2147483791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+mj-lt"/>
          <a:ea typeface="MS PGothic" pitchFamily="34" charset="-128"/>
          <a:cs typeface="+mj-cs"/>
        </a:defRPr>
      </a:lvl1pPr>
      <a:lvl2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2pPr>
      <a:lvl3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3pPr>
      <a:lvl4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4pPr>
      <a:lvl5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5pPr>
      <a:lvl6pPr marL="457006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6pPr>
      <a:lvl7pPr marL="914012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7pPr>
      <a:lvl8pPr marL="1371018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8pPr>
      <a:lvl9pPr marL="1828024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9pPr>
    </p:titleStyle>
    <p:bodyStyle>
      <a:lvl1pPr marL="177724" indent="-177724" algn="l" defTabSz="457006" rtl="0" eaLnBrk="0" fontAlgn="base" hangingPunct="0">
        <a:spcBef>
          <a:spcPts val="1200"/>
        </a:spcBef>
        <a:spcAft>
          <a:spcPct val="0"/>
        </a:spcAft>
        <a:buClr>
          <a:srgbClr val="00A4E4"/>
        </a:buClr>
        <a:buFont typeface="Wingdings" pitchFamily="2" charset="2"/>
        <a:buChar char="§"/>
        <a:tabLst>
          <a:tab pos="8002366" algn="r"/>
        </a:tabLst>
        <a:defRPr sz="1400">
          <a:solidFill>
            <a:srgbClr val="000000"/>
          </a:solidFill>
          <a:latin typeface="+mn-lt"/>
          <a:ea typeface="MS PGothic" pitchFamily="34" charset="-128"/>
          <a:cs typeface="+mn-cs"/>
        </a:defRPr>
      </a:lvl1pPr>
      <a:lvl2pPr marL="361797" indent="-171377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–"/>
        <a:tabLst>
          <a:tab pos="8002366" algn="r"/>
        </a:tabLst>
        <a:defRPr sz="1200">
          <a:solidFill>
            <a:srgbClr val="000000"/>
          </a:solidFill>
          <a:latin typeface="+mn-lt"/>
          <a:ea typeface="MS PGothic" pitchFamily="34" charset="-128"/>
          <a:cs typeface="+mn-cs"/>
        </a:defRPr>
      </a:lvl2pPr>
      <a:lvl3pPr marL="501436" indent="-139641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•"/>
        <a:tabLst>
          <a:tab pos="8002366" algn="r"/>
        </a:tabLst>
        <a:defRPr sz="1000">
          <a:solidFill>
            <a:srgbClr val="000000"/>
          </a:solidFill>
          <a:latin typeface="+mn-lt"/>
          <a:ea typeface="MS PGothic" pitchFamily="34" charset="-128"/>
          <a:cs typeface="+mn-cs"/>
        </a:defRPr>
      </a:lvl3pPr>
      <a:lvl4pPr marL="647425" indent="-152335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–"/>
        <a:tabLst>
          <a:tab pos="8002366" algn="r"/>
        </a:tabLst>
        <a:defRPr sz="1000">
          <a:solidFill>
            <a:srgbClr val="000000"/>
          </a:solidFill>
          <a:latin typeface="+mn-lt"/>
          <a:ea typeface="MS PGothic" pitchFamily="34" charset="-128"/>
          <a:cs typeface="+mn-cs"/>
        </a:defRPr>
      </a:lvl4pPr>
      <a:lvl5pPr marL="791827" indent="-144403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MS PGothic" pitchFamily="34" charset="-128"/>
          <a:cs typeface="+mn-cs"/>
        </a:defRPr>
      </a:lvl5pPr>
      <a:lvl6pPr marL="1248832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6pPr>
      <a:lvl7pPr marL="1705839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7pPr>
      <a:lvl8pPr marL="2162845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8pPr>
      <a:lvl9pPr marL="2619851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06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1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18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24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03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036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04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048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413682507"/>
              </p:ext>
            </p:extLst>
          </p:nvPr>
        </p:nvGraphicFramePr>
        <p:xfrm>
          <a:off x="2119" y="1591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288" name="think-cell Slide" r:id="rId9" imgW="493" imgH="493" progId="TCLayout.ActiveDocument.1">
                  <p:embed/>
                </p:oleObj>
              </mc:Choice>
              <mc:Fallback>
                <p:oleObj name="think-cell Slide" r:id="rId9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ext Placeholder 23"/>
          <p:cNvSpPr>
            <a:spLocks noGrp="1"/>
          </p:cNvSpPr>
          <p:nvPr>
            <p:ph type="body" idx="1"/>
          </p:nvPr>
        </p:nvSpPr>
        <p:spPr bwMode="gray">
          <a:xfrm>
            <a:off x="732183" y="1352550"/>
            <a:ext cx="10724474" cy="4637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027" name="Slide Number Placeholder 5"/>
          <p:cNvSpPr txBox="1">
            <a:spLocks/>
          </p:cNvSpPr>
          <p:nvPr/>
        </p:nvSpPr>
        <p:spPr bwMode="gray">
          <a:xfrm>
            <a:off x="11617367" y="6548550"/>
            <a:ext cx="376669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457006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C91E6528-19E5-42D5-B881-BBFA005AB1FE}" type="slidenum">
              <a:rPr lang="en-US" altLang="en-US" sz="8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algn="ctr" defTabSz="45700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 sz="800" dirty="0" smtClean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1028" name="Title Placeholder 22"/>
          <p:cNvSpPr>
            <a:spLocks noGrp="1"/>
          </p:cNvSpPr>
          <p:nvPr>
            <p:ph type="title"/>
          </p:nvPr>
        </p:nvSpPr>
        <p:spPr bwMode="black">
          <a:xfrm>
            <a:off x="732183" y="552453"/>
            <a:ext cx="10724474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 smtClean="0"/>
              <a:t>Click to edit Master title style</a:t>
            </a:r>
          </a:p>
        </p:txBody>
      </p:sp>
      <p:pic>
        <p:nvPicPr>
          <p:cNvPr id="1029" name="Picture 7" descr="AIG_PRI_pms2995.jpg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609441" y="6246820"/>
            <a:ext cx="899349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30" name="Group 8"/>
          <p:cNvGrpSpPr>
            <a:grpSpLocks/>
          </p:cNvGrpSpPr>
          <p:nvPr userDrawn="1"/>
        </p:nvGrpSpPr>
        <p:grpSpPr bwMode="auto">
          <a:xfrm flipH="1">
            <a:off x="10716010" y="1"/>
            <a:ext cx="1472816" cy="1119188"/>
            <a:chOff x="1440543" y="1418168"/>
            <a:chExt cx="769056" cy="769056"/>
          </a:xfrm>
        </p:grpSpPr>
        <p:sp>
          <p:nvSpPr>
            <p:cNvPr id="1031" name="Rectangle 15"/>
            <p:cNvSpPr>
              <a:spLocks noChangeArrowheads="1"/>
            </p:cNvSpPr>
            <p:nvPr userDrawn="1"/>
          </p:nvSpPr>
          <p:spPr bwMode="gray">
            <a:xfrm rot="5400000">
              <a:off x="1701804" y="1156907"/>
              <a:ext cx="246534" cy="769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defTabSz="45700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dirty="0" smtClean="0">
                <a:solidFill>
                  <a:srgbClr val="00A4E4"/>
                </a:solidFill>
              </a:endParaRPr>
            </a:p>
          </p:txBody>
        </p:sp>
        <p:sp>
          <p:nvSpPr>
            <p:cNvPr id="1032" name="Rectangle 16"/>
            <p:cNvSpPr>
              <a:spLocks noChangeArrowheads="1"/>
            </p:cNvSpPr>
            <p:nvPr userDrawn="1"/>
          </p:nvSpPr>
          <p:spPr bwMode="gray">
            <a:xfrm>
              <a:off x="1440543" y="1418168"/>
              <a:ext cx="246407" cy="769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defTabSz="45700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dirty="0" smtClean="0">
                <a:solidFill>
                  <a:srgbClr val="00A4E4"/>
                </a:solidFill>
              </a:endParaRPr>
            </a:p>
          </p:txBody>
        </p:sp>
      </p:grpSp>
      <p:sp>
        <p:nvSpPr>
          <p:cNvPr id="11" name="Rectangle 10"/>
          <p:cNvSpPr/>
          <p:nvPr userDrawn="1"/>
        </p:nvSpPr>
        <p:spPr>
          <a:xfrm>
            <a:off x="7901311" y="6596390"/>
            <a:ext cx="284882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FIDENTIAL DRAFT. DO NOT DISTRIBUTE.</a:t>
            </a:r>
            <a:endParaRPr lang="en-US" sz="11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456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+mj-lt"/>
          <a:ea typeface="MS PGothic" pitchFamily="34" charset="-128"/>
          <a:cs typeface="+mj-cs"/>
        </a:defRPr>
      </a:lvl1pPr>
      <a:lvl2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2pPr>
      <a:lvl3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3pPr>
      <a:lvl4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4pPr>
      <a:lvl5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5pPr>
      <a:lvl6pPr marL="457006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6pPr>
      <a:lvl7pPr marL="914012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7pPr>
      <a:lvl8pPr marL="1371018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8pPr>
      <a:lvl9pPr marL="1828024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9pPr>
    </p:titleStyle>
    <p:bodyStyle>
      <a:lvl1pPr marL="177724" indent="-177724" algn="l" defTabSz="457006" rtl="0" eaLnBrk="0" fontAlgn="base" hangingPunct="0">
        <a:spcBef>
          <a:spcPts val="1200"/>
        </a:spcBef>
        <a:spcAft>
          <a:spcPct val="0"/>
        </a:spcAft>
        <a:buClr>
          <a:srgbClr val="00A4E4"/>
        </a:buClr>
        <a:buFont typeface="Wingdings" pitchFamily="2" charset="2"/>
        <a:buChar char="§"/>
        <a:tabLst>
          <a:tab pos="8002366" algn="r"/>
        </a:tabLst>
        <a:defRPr sz="1400">
          <a:solidFill>
            <a:srgbClr val="000000"/>
          </a:solidFill>
          <a:latin typeface="+mn-lt"/>
          <a:ea typeface="MS PGothic" pitchFamily="34" charset="-128"/>
          <a:cs typeface="+mn-cs"/>
        </a:defRPr>
      </a:lvl1pPr>
      <a:lvl2pPr marL="361797" indent="-171377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–"/>
        <a:tabLst>
          <a:tab pos="8002366" algn="r"/>
        </a:tabLst>
        <a:defRPr sz="1200">
          <a:solidFill>
            <a:srgbClr val="000000"/>
          </a:solidFill>
          <a:latin typeface="+mn-lt"/>
          <a:ea typeface="MS PGothic" pitchFamily="34" charset="-128"/>
          <a:cs typeface="+mn-cs"/>
        </a:defRPr>
      </a:lvl2pPr>
      <a:lvl3pPr marL="501436" indent="-139641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•"/>
        <a:tabLst>
          <a:tab pos="8002366" algn="r"/>
        </a:tabLst>
        <a:defRPr sz="1000">
          <a:solidFill>
            <a:srgbClr val="000000"/>
          </a:solidFill>
          <a:latin typeface="+mn-lt"/>
          <a:ea typeface="MS PGothic" pitchFamily="34" charset="-128"/>
          <a:cs typeface="+mn-cs"/>
        </a:defRPr>
      </a:lvl3pPr>
      <a:lvl4pPr marL="647425" indent="-152335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–"/>
        <a:tabLst>
          <a:tab pos="8002366" algn="r"/>
        </a:tabLst>
        <a:defRPr sz="1000">
          <a:solidFill>
            <a:srgbClr val="000000"/>
          </a:solidFill>
          <a:latin typeface="+mn-lt"/>
          <a:ea typeface="MS PGothic" pitchFamily="34" charset="-128"/>
          <a:cs typeface="+mn-cs"/>
        </a:defRPr>
      </a:lvl4pPr>
      <a:lvl5pPr marL="791827" indent="-144403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MS PGothic" pitchFamily="34" charset="-128"/>
          <a:cs typeface="+mn-cs"/>
        </a:defRPr>
      </a:lvl5pPr>
      <a:lvl6pPr marL="1248832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6pPr>
      <a:lvl7pPr marL="1705839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7pPr>
      <a:lvl8pPr marL="2162845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8pPr>
      <a:lvl9pPr marL="2619851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06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1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18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24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03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036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04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048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482242165"/>
              </p:ext>
            </p:extLst>
          </p:nvPr>
        </p:nvGraphicFramePr>
        <p:xfrm>
          <a:off x="2119" y="1591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312" name="think-cell Slide" r:id="rId9" imgW="493" imgH="493" progId="TCLayout.ActiveDocument.1">
                  <p:embed/>
                </p:oleObj>
              </mc:Choice>
              <mc:Fallback>
                <p:oleObj name="think-cell Slide" r:id="rId9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ext Placeholder 23"/>
          <p:cNvSpPr>
            <a:spLocks noGrp="1"/>
          </p:cNvSpPr>
          <p:nvPr>
            <p:ph type="body" idx="1"/>
          </p:nvPr>
        </p:nvSpPr>
        <p:spPr bwMode="gray">
          <a:xfrm>
            <a:off x="732183" y="1352550"/>
            <a:ext cx="10724474" cy="4637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027" name="Slide Number Placeholder 5"/>
          <p:cNvSpPr txBox="1">
            <a:spLocks/>
          </p:cNvSpPr>
          <p:nvPr/>
        </p:nvSpPr>
        <p:spPr bwMode="gray">
          <a:xfrm>
            <a:off x="11617367" y="6548550"/>
            <a:ext cx="376669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457006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C91E6528-19E5-42D5-B881-BBFA005AB1FE}" type="slidenum">
              <a:rPr lang="en-US" altLang="en-US" sz="8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algn="ctr" defTabSz="45700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 sz="800" dirty="0" smtClean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1028" name="Title Placeholder 22"/>
          <p:cNvSpPr>
            <a:spLocks noGrp="1"/>
          </p:cNvSpPr>
          <p:nvPr>
            <p:ph type="title"/>
          </p:nvPr>
        </p:nvSpPr>
        <p:spPr bwMode="black">
          <a:xfrm>
            <a:off x="732183" y="552453"/>
            <a:ext cx="10724474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 smtClean="0"/>
              <a:t>Click to edit Master title style</a:t>
            </a:r>
          </a:p>
        </p:txBody>
      </p:sp>
      <p:pic>
        <p:nvPicPr>
          <p:cNvPr id="1029" name="Picture 7" descr="AIG_PRI_pms2995.jpg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609441" y="6246820"/>
            <a:ext cx="899349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30" name="Group 8"/>
          <p:cNvGrpSpPr>
            <a:grpSpLocks/>
          </p:cNvGrpSpPr>
          <p:nvPr userDrawn="1"/>
        </p:nvGrpSpPr>
        <p:grpSpPr bwMode="auto">
          <a:xfrm flipH="1">
            <a:off x="10716010" y="1"/>
            <a:ext cx="1472816" cy="1119188"/>
            <a:chOff x="1440543" y="1418168"/>
            <a:chExt cx="769056" cy="769056"/>
          </a:xfrm>
        </p:grpSpPr>
        <p:sp>
          <p:nvSpPr>
            <p:cNvPr id="1031" name="Rectangle 15"/>
            <p:cNvSpPr>
              <a:spLocks noChangeArrowheads="1"/>
            </p:cNvSpPr>
            <p:nvPr userDrawn="1"/>
          </p:nvSpPr>
          <p:spPr bwMode="gray">
            <a:xfrm rot="5400000">
              <a:off x="1701804" y="1156907"/>
              <a:ext cx="246534" cy="769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defTabSz="45700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dirty="0" smtClean="0">
                <a:solidFill>
                  <a:srgbClr val="00A4E4"/>
                </a:solidFill>
              </a:endParaRPr>
            </a:p>
          </p:txBody>
        </p:sp>
        <p:sp>
          <p:nvSpPr>
            <p:cNvPr id="1032" name="Rectangle 16"/>
            <p:cNvSpPr>
              <a:spLocks noChangeArrowheads="1"/>
            </p:cNvSpPr>
            <p:nvPr userDrawn="1"/>
          </p:nvSpPr>
          <p:spPr bwMode="gray">
            <a:xfrm>
              <a:off x="1440543" y="1418168"/>
              <a:ext cx="246407" cy="769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defTabSz="45700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dirty="0" smtClean="0">
                <a:solidFill>
                  <a:srgbClr val="00A4E4"/>
                </a:solidFill>
              </a:endParaRPr>
            </a:p>
          </p:txBody>
        </p:sp>
      </p:grpSp>
      <p:sp>
        <p:nvSpPr>
          <p:cNvPr id="11" name="Rectangle 10"/>
          <p:cNvSpPr/>
          <p:nvPr userDrawn="1"/>
        </p:nvSpPr>
        <p:spPr>
          <a:xfrm>
            <a:off x="7901311" y="6596390"/>
            <a:ext cx="284882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FIDENTIAL DRAFT. DO NOT DISTRIBUTE.</a:t>
            </a:r>
            <a:endParaRPr lang="en-US" sz="11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3334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+mj-lt"/>
          <a:ea typeface="MS PGothic" pitchFamily="34" charset="-128"/>
          <a:cs typeface="+mj-cs"/>
        </a:defRPr>
      </a:lvl1pPr>
      <a:lvl2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2pPr>
      <a:lvl3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3pPr>
      <a:lvl4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4pPr>
      <a:lvl5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5pPr>
      <a:lvl6pPr marL="457006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6pPr>
      <a:lvl7pPr marL="914012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7pPr>
      <a:lvl8pPr marL="1371018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8pPr>
      <a:lvl9pPr marL="1828024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9pPr>
    </p:titleStyle>
    <p:bodyStyle>
      <a:lvl1pPr marL="177724" indent="-177724" algn="l" defTabSz="457006" rtl="0" eaLnBrk="0" fontAlgn="base" hangingPunct="0">
        <a:spcBef>
          <a:spcPts val="1200"/>
        </a:spcBef>
        <a:spcAft>
          <a:spcPct val="0"/>
        </a:spcAft>
        <a:buClr>
          <a:srgbClr val="00A4E4"/>
        </a:buClr>
        <a:buFont typeface="Wingdings" pitchFamily="2" charset="2"/>
        <a:buChar char="§"/>
        <a:tabLst>
          <a:tab pos="8002366" algn="r"/>
        </a:tabLst>
        <a:defRPr sz="1400">
          <a:solidFill>
            <a:srgbClr val="000000"/>
          </a:solidFill>
          <a:latin typeface="+mn-lt"/>
          <a:ea typeface="MS PGothic" pitchFamily="34" charset="-128"/>
          <a:cs typeface="+mn-cs"/>
        </a:defRPr>
      </a:lvl1pPr>
      <a:lvl2pPr marL="361797" indent="-171377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–"/>
        <a:tabLst>
          <a:tab pos="8002366" algn="r"/>
        </a:tabLst>
        <a:defRPr sz="1200">
          <a:solidFill>
            <a:srgbClr val="000000"/>
          </a:solidFill>
          <a:latin typeface="+mn-lt"/>
          <a:ea typeface="MS PGothic" pitchFamily="34" charset="-128"/>
          <a:cs typeface="+mn-cs"/>
        </a:defRPr>
      </a:lvl2pPr>
      <a:lvl3pPr marL="501436" indent="-139641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•"/>
        <a:tabLst>
          <a:tab pos="8002366" algn="r"/>
        </a:tabLst>
        <a:defRPr sz="1000">
          <a:solidFill>
            <a:srgbClr val="000000"/>
          </a:solidFill>
          <a:latin typeface="+mn-lt"/>
          <a:ea typeface="MS PGothic" pitchFamily="34" charset="-128"/>
          <a:cs typeface="+mn-cs"/>
        </a:defRPr>
      </a:lvl3pPr>
      <a:lvl4pPr marL="647425" indent="-152335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–"/>
        <a:tabLst>
          <a:tab pos="8002366" algn="r"/>
        </a:tabLst>
        <a:defRPr sz="1000">
          <a:solidFill>
            <a:srgbClr val="000000"/>
          </a:solidFill>
          <a:latin typeface="+mn-lt"/>
          <a:ea typeface="MS PGothic" pitchFamily="34" charset="-128"/>
          <a:cs typeface="+mn-cs"/>
        </a:defRPr>
      </a:lvl4pPr>
      <a:lvl5pPr marL="791827" indent="-144403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MS PGothic" pitchFamily="34" charset="-128"/>
          <a:cs typeface="+mn-cs"/>
        </a:defRPr>
      </a:lvl5pPr>
      <a:lvl6pPr marL="1248832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6pPr>
      <a:lvl7pPr marL="1705839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7pPr>
      <a:lvl8pPr marL="2162845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8pPr>
      <a:lvl9pPr marL="2619851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06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1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18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24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03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036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04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048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243244142"/>
              </p:ext>
            </p:extLst>
          </p:nvPr>
        </p:nvGraphicFramePr>
        <p:xfrm>
          <a:off x="2119" y="1591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16" name="think-cell Slide" r:id="rId11" imgW="493" imgH="493" progId="TCLayout.ActiveDocument.1">
                  <p:embed/>
                </p:oleObj>
              </mc:Choice>
              <mc:Fallback>
                <p:oleObj name="think-cell Slide" r:id="rId11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ext Placeholder 23"/>
          <p:cNvSpPr>
            <a:spLocks noGrp="1"/>
          </p:cNvSpPr>
          <p:nvPr>
            <p:ph type="body" idx="1"/>
          </p:nvPr>
        </p:nvSpPr>
        <p:spPr bwMode="gray">
          <a:xfrm>
            <a:off x="732183" y="1352550"/>
            <a:ext cx="10724474" cy="4637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027" name="Slide Number Placeholder 5"/>
          <p:cNvSpPr txBox="1">
            <a:spLocks/>
          </p:cNvSpPr>
          <p:nvPr/>
        </p:nvSpPr>
        <p:spPr bwMode="gray">
          <a:xfrm>
            <a:off x="11617367" y="6548550"/>
            <a:ext cx="376669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457006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C91E6528-19E5-42D5-B881-BBFA005AB1FE}" type="slidenum">
              <a:rPr lang="en-US" altLang="en-US" sz="8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algn="ctr" defTabSz="45700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 sz="800" dirty="0" smtClean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1028" name="Title Placeholder 22"/>
          <p:cNvSpPr>
            <a:spLocks noGrp="1"/>
          </p:cNvSpPr>
          <p:nvPr>
            <p:ph type="title"/>
          </p:nvPr>
        </p:nvSpPr>
        <p:spPr bwMode="black">
          <a:xfrm>
            <a:off x="732183" y="552453"/>
            <a:ext cx="10724474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 smtClean="0"/>
              <a:t>Click to edit Master title style</a:t>
            </a:r>
          </a:p>
        </p:txBody>
      </p:sp>
      <p:pic>
        <p:nvPicPr>
          <p:cNvPr id="1029" name="Picture 7" descr="AIG_PRI_pms2995.jpg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609441" y="6246820"/>
            <a:ext cx="899349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30" name="Group 8"/>
          <p:cNvGrpSpPr>
            <a:grpSpLocks/>
          </p:cNvGrpSpPr>
          <p:nvPr userDrawn="1"/>
        </p:nvGrpSpPr>
        <p:grpSpPr bwMode="auto">
          <a:xfrm flipH="1">
            <a:off x="10716010" y="1"/>
            <a:ext cx="1472816" cy="1119188"/>
            <a:chOff x="1440543" y="1418168"/>
            <a:chExt cx="769056" cy="769056"/>
          </a:xfrm>
        </p:grpSpPr>
        <p:sp>
          <p:nvSpPr>
            <p:cNvPr id="1031" name="Rectangle 15"/>
            <p:cNvSpPr>
              <a:spLocks noChangeArrowheads="1"/>
            </p:cNvSpPr>
            <p:nvPr userDrawn="1"/>
          </p:nvSpPr>
          <p:spPr bwMode="gray">
            <a:xfrm rot="5400000">
              <a:off x="1701804" y="1156907"/>
              <a:ext cx="246534" cy="769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defTabSz="45700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dirty="0" smtClean="0">
                <a:solidFill>
                  <a:srgbClr val="00A4E4"/>
                </a:solidFill>
              </a:endParaRPr>
            </a:p>
          </p:txBody>
        </p:sp>
        <p:sp>
          <p:nvSpPr>
            <p:cNvPr id="1032" name="Rectangle 16"/>
            <p:cNvSpPr>
              <a:spLocks noChangeArrowheads="1"/>
            </p:cNvSpPr>
            <p:nvPr userDrawn="1"/>
          </p:nvSpPr>
          <p:spPr bwMode="gray">
            <a:xfrm>
              <a:off x="1440543" y="1418168"/>
              <a:ext cx="246407" cy="769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defTabSz="45700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dirty="0" smtClean="0">
                <a:solidFill>
                  <a:srgbClr val="00A4E4"/>
                </a:solidFill>
              </a:endParaRPr>
            </a:p>
          </p:txBody>
        </p:sp>
      </p:grpSp>
      <p:sp>
        <p:nvSpPr>
          <p:cNvPr id="11" name="Rectangle 10"/>
          <p:cNvSpPr/>
          <p:nvPr userDrawn="1"/>
        </p:nvSpPr>
        <p:spPr>
          <a:xfrm>
            <a:off x="7901311" y="6596390"/>
            <a:ext cx="284882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FIDENTIAL DRAFT. DO NOT DISTRIBUTE.</a:t>
            </a:r>
            <a:endParaRPr lang="en-US" sz="1100" b="1" dirty="0"/>
          </a:p>
        </p:txBody>
      </p:sp>
    </p:spTree>
    <p:extLst>
      <p:ext uri="{BB962C8B-B14F-4D97-AF65-F5344CB8AC3E}">
        <p14:creationId xmlns:p14="http://schemas.microsoft.com/office/powerpoint/2010/main" val="4025043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83" r:id="rId6"/>
    <p:sldLayoutId id="2147483805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+mj-lt"/>
          <a:ea typeface="MS PGothic" pitchFamily="34" charset="-128"/>
          <a:cs typeface="+mj-cs"/>
        </a:defRPr>
      </a:lvl1pPr>
      <a:lvl2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2pPr>
      <a:lvl3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3pPr>
      <a:lvl4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4pPr>
      <a:lvl5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5pPr>
      <a:lvl6pPr marL="457006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6pPr>
      <a:lvl7pPr marL="914012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7pPr>
      <a:lvl8pPr marL="1371018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8pPr>
      <a:lvl9pPr marL="1828024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9pPr>
    </p:titleStyle>
    <p:bodyStyle>
      <a:lvl1pPr marL="177724" indent="-177724" algn="l" defTabSz="457006" rtl="0" eaLnBrk="0" fontAlgn="base" hangingPunct="0">
        <a:spcBef>
          <a:spcPts val="1200"/>
        </a:spcBef>
        <a:spcAft>
          <a:spcPct val="0"/>
        </a:spcAft>
        <a:buClr>
          <a:srgbClr val="00A4E4"/>
        </a:buClr>
        <a:buFont typeface="Wingdings" pitchFamily="2" charset="2"/>
        <a:buChar char="§"/>
        <a:tabLst>
          <a:tab pos="8002366" algn="r"/>
        </a:tabLst>
        <a:defRPr sz="1400">
          <a:solidFill>
            <a:srgbClr val="000000"/>
          </a:solidFill>
          <a:latin typeface="+mn-lt"/>
          <a:ea typeface="MS PGothic" pitchFamily="34" charset="-128"/>
          <a:cs typeface="+mn-cs"/>
        </a:defRPr>
      </a:lvl1pPr>
      <a:lvl2pPr marL="361797" indent="-171377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–"/>
        <a:tabLst>
          <a:tab pos="8002366" algn="r"/>
        </a:tabLst>
        <a:defRPr sz="1200">
          <a:solidFill>
            <a:srgbClr val="000000"/>
          </a:solidFill>
          <a:latin typeface="+mn-lt"/>
          <a:ea typeface="MS PGothic" pitchFamily="34" charset="-128"/>
          <a:cs typeface="+mn-cs"/>
        </a:defRPr>
      </a:lvl2pPr>
      <a:lvl3pPr marL="501436" indent="-139641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•"/>
        <a:tabLst>
          <a:tab pos="8002366" algn="r"/>
        </a:tabLst>
        <a:defRPr sz="1000">
          <a:solidFill>
            <a:srgbClr val="000000"/>
          </a:solidFill>
          <a:latin typeface="+mn-lt"/>
          <a:ea typeface="MS PGothic" pitchFamily="34" charset="-128"/>
          <a:cs typeface="+mn-cs"/>
        </a:defRPr>
      </a:lvl3pPr>
      <a:lvl4pPr marL="647425" indent="-152335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–"/>
        <a:tabLst>
          <a:tab pos="8002366" algn="r"/>
        </a:tabLst>
        <a:defRPr sz="1000">
          <a:solidFill>
            <a:srgbClr val="000000"/>
          </a:solidFill>
          <a:latin typeface="+mn-lt"/>
          <a:ea typeface="MS PGothic" pitchFamily="34" charset="-128"/>
          <a:cs typeface="+mn-cs"/>
        </a:defRPr>
      </a:lvl4pPr>
      <a:lvl5pPr marL="791827" indent="-144403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MS PGothic" pitchFamily="34" charset="-128"/>
          <a:cs typeface="+mn-cs"/>
        </a:defRPr>
      </a:lvl5pPr>
      <a:lvl6pPr marL="1248832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6pPr>
      <a:lvl7pPr marL="1705839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7pPr>
      <a:lvl8pPr marL="2162845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8pPr>
      <a:lvl9pPr marL="2619851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06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1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18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24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03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036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04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048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2119" y="1591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685" name="think-cell Slide" r:id="rId9" imgW="493" imgH="493" progId="TCLayout.ActiveDocument.1">
                  <p:embed/>
                </p:oleObj>
              </mc:Choice>
              <mc:Fallback>
                <p:oleObj name="think-cell Slide" r:id="rId9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ext Placeholder 23"/>
          <p:cNvSpPr>
            <a:spLocks noGrp="1"/>
          </p:cNvSpPr>
          <p:nvPr>
            <p:ph type="body" idx="1"/>
          </p:nvPr>
        </p:nvSpPr>
        <p:spPr bwMode="gray">
          <a:xfrm>
            <a:off x="732183" y="1352550"/>
            <a:ext cx="10724474" cy="4637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027" name="Slide Number Placeholder 5"/>
          <p:cNvSpPr txBox="1">
            <a:spLocks/>
          </p:cNvSpPr>
          <p:nvPr/>
        </p:nvSpPr>
        <p:spPr bwMode="gray">
          <a:xfrm>
            <a:off x="11617367" y="6548550"/>
            <a:ext cx="376669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457006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C91E6528-19E5-42D5-B881-BBFA005AB1FE}" type="slidenum">
              <a:rPr lang="en-US" altLang="en-US" sz="8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algn="ctr" defTabSz="45700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 sz="800" dirty="0" smtClean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1028" name="Title Placeholder 22"/>
          <p:cNvSpPr>
            <a:spLocks noGrp="1"/>
          </p:cNvSpPr>
          <p:nvPr>
            <p:ph type="title"/>
          </p:nvPr>
        </p:nvSpPr>
        <p:spPr bwMode="black">
          <a:xfrm>
            <a:off x="732183" y="552453"/>
            <a:ext cx="10724474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 smtClean="0"/>
              <a:t>Click to edit Master title style</a:t>
            </a:r>
          </a:p>
        </p:txBody>
      </p:sp>
      <p:pic>
        <p:nvPicPr>
          <p:cNvPr id="1029" name="Picture 7" descr="AIG_PRI_pms2995.jpg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609441" y="6246820"/>
            <a:ext cx="899349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30" name="Group 8"/>
          <p:cNvGrpSpPr>
            <a:grpSpLocks/>
          </p:cNvGrpSpPr>
          <p:nvPr userDrawn="1"/>
        </p:nvGrpSpPr>
        <p:grpSpPr bwMode="auto">
          <a:xfrm flipH="1">
            <a:off x="10716010" y="1"/>
            <a:ext cx="1472816" cy="1119188"/>
            <a:chOff x="1440543" y="1418168"/>
            <a:chExt cx="769056" cy="769056"/>
          </a:xfrm>
        </p:grpSpPr>
        <p:sp>
          <p:nvSpPr>
            <p:cNvPr id="1031" name="Rectangle 15"/>
            <p:cNvSpPr>
              <a:spLocks noChangeArrowheads="1"/>
            </p:cNvSpPr>
            <p:nvPr userDrawn="1"/>
          </p:nvSpPr>
          <p:spPr bwMode="gray">
            <a:xfrm rot="5400000">
              <a:off x="1701804" y="1156907"/>
              <a:ext cx="246534" cy="769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defTabSz="45700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dirty="0" smtClean="0">
                <a:solidFill>
                  <a:srgbClr val="00A4E4"/>
                </a:solidFill>
              </a:endParaRPr>
            </a:p>
          </p:txBody>
        </p:sp>
        <p:sp>
          <p:nvSpPr>
            <p:cNvPr id="1032" name="Rectangle 16"/>
            <p:cNvSpPr>
              <a:spLocks noChangeArrowheads="1"/>
            </p:cNvSpPr>
            <p:nvPr userDrawn="1"/>
          </p:nvSpPr>
          <p:spPr bwMode="gray">
            <a:xfrm>
              <a:off x="1440543" y="1418168"/>
              <a:ext cx="246407" cy="769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defTabSz="45700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dirty="0" smtClean="0">
                <a:solidFill>
                  <a:srgbClr val="00A4E4"/>
                </a:solidFill>
              </a:endParaRPr>
            </a:p>
          </p:txBody>
        </p:sp>
      </p:grpSp>
      <p:sp>
        <p:nvSpPr>
          <p:cNvPr id="11" name="Rectangle 10"/>
          <p:cNvSpPr/>
          <p:nvPr userDrawn="1"/>
        </p:nvSpPr>
        <p:spPr>
          <a:xfrm>
            <a:off x="7901311" y="6596390"/>
            <a:ext cx="284882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FIDENTIAL DRAFT. DO NOT DISTRIBUTE.</a:t>
            </a:r>
            <a:endParaRPr lang="en-US" sz="1100" b="1" dirty="0"/>
          </a:p>
        </p:txBody>
      </p:sp>
    </p:spTree>
    <p:extLst>
      <p:ext uri="{BB962C8B-B14F-4D97-AF65-F5344CB8AC3E}">
        <p14:creationId xmlns:p14="http://schemas.microsoft.com/office/powerpoint/2010/main" val="7438385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6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+mj-lt"/>
          <a:ea typeface="MS PGothic" pitchFamily="34" charset="-128"/>
          <a:cs typeface="+mj-cs"/>
        </a:defRPr>
      </a:lvl1pPr>
      <a:lvl2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2pPr>
      <a:lvl3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3pPr>
      <a:lvl4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4pPr>
      <a:lvl5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5pPr>
      <a:lvl6pPr marL="457006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6pPr>
      <a:lvl7pPr marL="914012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7pPr>
      <a:lvl8pPr marL="1371018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8pPr>
      <a:lvl9pPr marL="1828024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9pPr>
    </p:titleStyle>
    <p:bodyStyle>
      <a:lvl1pPr marL="177724" indent="-177724" algn="l" defTabSz="457006" rtl="0" eaLnBrk="0" fontAlgn="base" hangingPunct="0">
        <a:spcBef>
          <a:spcPts val="1200"/>
        </a:spcBef>
        <a:spcAft>
          <a:spcPct val="0"/>
        </a:spcAft>
        <a:buClr>
          <a:srgbClr val="00A4E4"/>
        </a:buClr>
        <a:buFont typeface="Wingdings" pitchFamily="2" charset="2"/>
        <a:buChar char="§"/>
        <a:tabLst>
          <a:tab pos="8002366" algn="r"/>
        </a:tabLst>
        <a:defRPr sz="1400">
          <a:solidFill>
            <a:srgbClr val="000000"/>
          </a:solidFill>
          <a:latin typeface="+mn-lt"/>
          <a:ea typeface="MS PGothic" pitchFamily="34" charset="-128"/>
          <a:cs typeface="+mn-cs"/>
        </a:defRPr>
      </a:lvl1pPr>
      <a:lvl2pPr marL="361797" indent="-171377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–"/>
        <a:tabLst>
          <a:tab pos="8002366" algn="r"/>
        </a:tabLst>
        <a:defRPr sz="1200">
          <a:solidFill>
            <a:srgbClr val="000000"/>
          </a:solidFill>
          <a:latin typeface="+mn-lt"/>
          <a:ea typeface="MS PGothic" pitchFamily="34" charset="-128"/>
          <a:cs typeface="+mn-cs"/>
        </a:defRPr>
      </a:lvl2pPr>
      <a:lvl3pPr marL="501436" indent="-139641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•"/>
        <a:tabLst>
          <a:tab pos="8002366" algn="r"/>
        </a:tabLst>
        <a:defRPr sz="1000">
          <a:solidFill>
            <a:srgbClr val="000000"/>
          </a:solidFill>
          <a:latin typeface="+mn-lt"/>
          <a:ea typeface="MS PGothic" pitchFamily="34" charset="-128"/>
          <a:cs typeface="+mn-cs"/>
        </a:defRPr>
      </a:lvl3pPr>
      <a:lvl4pPr marL="647425" indent="-152335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–"/>
        <a:tabLst>
          <a:tab pos="8002366" algn="r"/>
        </a:tabLst>
        <a:defRPr sz="1000">
          <a:solidFill>
            <a:srgbClr val="000000"/>
          </a:solidFill>
          <a:latin typeface="+mn-lt"/>
          <a:ea typeface="MS PGothic" pitchFamily="34" charset="-128"/>
          <a:cs typeface="+mn-cs"/>
        </a:defRPr>
      </a:lvl4pPr>
      <a:lvl5pPr marL="791827" indent="-144403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MS PGothic" pitchFamily="34" charset="-128"/>
          <a:cs typeface="+mn-cs"/>
        </a:defRPr>
      </a:lvl5pPr>
      <a:lvl6pPr marL="1248832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6pPr>
      <a:lvl7pPr marL="1705839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7pPr>
      <a:lvl8pPr marL="2162845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8pPr>
      <a:lvl9pPr marL="2619851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06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1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18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24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03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036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04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048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973977424"/>
              </p:ext>
            </p:extLst>
          </p:nvPr>
        </p:nvGraphicFramePr>
        <p:xfrm>
          <a:off x="2119" y="1591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244" name="think-cell Slide" r:id="rId8" imgW="493" imgH="493" progId="TCLayout.ActiveDocument.1">
                  <p:embed/>
                </p:oleObj>
              </mc:Choice>
              <mc:Fallback>
                <p:oleObj name="think-cell Slide" r:id="rId8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ext Placeholder 23"/>
          <p:cNvSpPr>
            <a:spLocks noGrp="1"/>
          </p:cNvSpPr>
          <p:nvPr>
            <p:ph type="body" idx="1"/>
          </p:nvPr>
        </p:nvSpPr>
        <p:spPr bwMode="gray">
          <a:xfrm>
            <a:off x="732183" y="1352550"/>
            <a:ext cx="10724474" cy="4637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027" name="Slide Number Placeholder 5"/>
          <p:cNvSpPr txBox="1">
            <a:spLocks/>
          </p:cNvSpPr>
          <p:nvPr/>
        </p:nvSpPr>
        <p:spPr bwMode="gray">
          <a:xfrm>
            <a:off x="11617367" y="6548550"/>
            <a:ext cx="376669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457006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C91E6528-19E5-42D5-B881-BBFA005AB1FE}" type="slidenum">
              <a:rPr lang="en-US" altLang="en-US" sz="8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algn="ctr" defTabSz="45700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 sz="800" dirty="0" smtClean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1028" name="Title Placeholder 22"/>
          <p:cNvSpPr>
            <a:spLocks noGrp="1"/>
          </p:cNvSpPr>
          <p:nvPr>
            <p:ph type="title"/>
          </p:nvPr>
        </p:nvSpPr>
        <p:spPr bwMode="black">
          <a:xfrm>
            <a:off x="732183" y="552453"/>
            <a:ext cx="10724474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 smtClean="0"/>
              <a:t>Click to edit Master title style</a:t>
            </a:r>
          </a:p>
        </p:txBody>
      </p:sp>
      <p:pic>
        <p:nvPicPr>
          <p:cNvPr id="1029" name="Picture 7" descr="AIG_PRI_pms2995.jpg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609441" y="6246820"/>
            <a:ext cx="899349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30" name="Group 8"/>
          <p:cNvGrpSpPr>
            <a:grpSpLocks/>
          </p:cNvGrpSpPr>
          <p:nvPr userDrawn="1"/>
        </p:nvGrpSpPr>
        <p:grpSpPr bwMode="auto">
          <a:xfrm flipH="1">
            <a:off x="10716010" y="1"/>
            <a:ext cx="1472816" cy="1119188"/>
            <a:chOff x="1440543" y="1418168"/>
            <a:chExt cx="769056" cy="769056"/>
          </a:xfrm>
        </p:grpSpPr>
        <p:sp>
          <p:nvSpPr>
            <p:cNvPr id="1031" name="Rectangle 15"/>
            <p:cNvSpPr>
              <a:spLocks noChangeArrowheads="1"/>
            </p:cNvSpPr>
            <p:nvPr userDrawn="1"/>
          </p:nvSpPr>
          <p:spPr bwMode="gray">
            <a:xfrm rot="5400000">
              <a:off x="1701804" y="1156907"/>
              <a:ext cx="246534" cy="769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defTabSz="45700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dirty="0" smtClean="0">
                <a:solidFill>
                  <a:srgbClr val="00A4E4"/>
                </a:solidFill>
              </a:endParaRPr>
            </a:p>
          </p:txBody>
        </p:sp>
        <p:sp>
          <p:nvSpPr>
            <p:cNvPr id="1032" name="Rectangle 16"/>
            <p:cNvSpPr>
              <a:spLocks noChangeArrowheads="1"/>
            </p:cNvSpPr>
            <p:nvPr userDrawn="1"/>
          </p:nvSpPr>
          <p:spPr bwMode="gray">
            <a:xfrm>
              <a:off x="1440543" y="1418168"/>
              <a:ext cx="246407" cy="769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defTabSz="45700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dirty="0" smtClean="0">
                <a:solidFill>
                  <a:srgbClr val="00A4E4"/>
                </a:solidFill>
              </a:endParaRPr>
            </a:p>
          </p:txBody>
        </p:sp>
      </p:grpSp>
      <p:sp>
        <p:nvSpPr>
          <p:cNvPr id="11" name="Rectangle 10"/>
          <p:cNvSpPr/>
          <p:nvPr userDrawn="1"/>
        </p:nvSpPr>
        <p:spPr>
          <a:xfrm>
            <a:off x="7901311" y="6596390"/>
            <a:ext cx="284882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FIDENTIAL DRAFT. DO NOT DISTRIBUTE.</a:t>
            </a:r>
            <a:endParaRPr lang="en-US" sz="1100" b="1" dirty="0"/>
          </a:p>
        </p:txBody>
      </p:sp>
    </p:spTree>
    <p:extLst>
      <p:ext uri="{BB962C8B-B14F-4D97-AF65-F5344CB8AC3E}">
        <p14:creationId xmlns:p14="http://schemas.microsoft.com/office/powerpoint/2010/main" val="12907794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+mj-lt"/>
          <a:ea typeface="MS PGothic" pitchFamily="34" charset="-128"/>
          <a:cs typeface="+mj-cs"/>
        </a:defRPr>
      </a:lvl1pPr>
      <a:lvl2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2pPr>
      <a:lvl3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3pPr>
      <a:lvl4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4pPr>
      <a:lvl5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5pPr>
      <a:lvl6pPr marL="457006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6pPr>
      <a:lvl7pPr marL="914012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7pPr>
      <a:lvl8pPr marL="1371018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8pPr>
      <a:lvl9pPr marL="1828024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9pPr>
    </p:titleStyle>
    <p:bodyStyle>
      <a:lvl1pPr marL="177724" indent="-177724" algn="l" defTabSz="457006" rtl="0" eaLnBrk="0" fontAlgn="base" hangingPunct="0">
        <a:spcBef>
          <a:spcPts val="1200"/>
        </a:spcBef>
        <a:spcAft>
          <a:spcPct val="0"/>
        </a:spcAft>
        <a:buClr>
          <a:srgbClr val="00A4E4"/>
        </a:buClr>
        <a:buFont typeface="Wingdings" pitchFamily="2" charset="2"/>
        <a:buChar char="§"/>
        <a:tabLst>
          <a:tab pos="8002366" algn="r"/>
        </a:tabLst>
        <a:defRPr sz="1400">
          <a:solidFill>
            <a:srgbClr val="000000"/>
          </a:solidFill>
          <a:latin typeface="+mn-lt"/>
          <a:ea typeface="MS PGothic" pitchFamily="34" charset="-128"/>
          <a:cs typeface="+mn-cs"/>
        </a:defRPr>
      </a:lvl1pPr>
      <a:lvl2pPr marL="361797" indent="-171377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–"/>
        <a:tabLst>
          <a:tab pos="8002366" algn="r"/>
        </a:tabLst>
        <a:defRPr sz="1200">
          <a:solidFill>
            <a:srgbClr val="000000"/>
          </a:solidFill>
          <a:latin typeface="+mn-lt"/>
          <a:ea typeface="MS PGothic" pitchFamily="34" charset="-128"/>
          <a:cs typeface="+mn-cs"/>
        </a:defRPr>
      </a:lvl2pPr>
      <a:lvl3pPr marL="501436" indent="-139641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•"/>
        <a:tabLst>
          <a:tab pos="8002366" algn="r"/>
        </a:tabLst>
        <a:defRPr sz="1000">
          <a:solidFill>
            <a:srgbClr val="000000"/>
          </a:solidFill>
          <a:latin typeface="+mn-lt"/>
          <a:ea typeface="MS PGothic" pitchFamily="34" charset="-128"/>
          <a:cs typeface="+mn-cs"/>
        </a:defRPr>
      </a:lvl3pPr>
      <a:lvl4pPr marL="647425" indent="-152335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–"/>
        <a:tabLst>
          <a:tab pos="8002366" algn="r"/>
        </a:tabLst>
        <a:defRPr sz="1000">
          <a:solidFill>
            <a:srgbClr val="000000"/>
          </a:solidFill>
          <a:latin typeface="+mn-lt"/>
          <a:ea typeface="MS PGothic" pitchFamily="34" charset="-128"/>
          <a:cs typeface="+mn-cs"/>
        </a:defRPr>
      </a:lvl4pPr>
      <a:lvl5pPr marL="791827" indent="-144403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MS PGothic" pitchFamily="34" charset="-128"/>
          <a:cs typeface="+mn-cs"/>
        </a:defRPr>
      </a:lvl5pPr>
      <a:lvl6pPr marL="1248832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6pPr>
      <a:lvl7pPr marL="1705839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7pPr>
      <a:lvl8pPr marL="2162845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8pPr>
      <a:lvl9pPr marL="2619851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06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1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18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24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03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036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04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048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7" descr="logo_white_0-02.eps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631" y="6230941"/>
            <a:ext cx="89723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TextBox 9"/>
          <p:cNvSpPr txBox="1">
            <a:spLocks noChangeArrowheads="1"/>
          </p:cNvSpPr>
          <p:nvPr/>
        </p:nvSpPr>
        <p:spPr bwMode="auto">
          <a:xfrm>
            <a:off x="3303259" y="6611940"/>
            <a:ext cx="569658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 smtClean="0">
                <a:solidFill>
                  <a:srgbClr val="FFFFFF"/>
                </a:solidFill>
                <a:latin typeface="AIG Futura Medium"/>
                <a:cs typeface="Arial" pitchFamily="34" charset="0"/>
              </a:rPr>
              <a:t>FOR INTERNAL PURPOSES ONLY</a:t>
            </a:r>
          </a:p>
        </p:txBody>
      </p:sp>
    </p:spTree>
    <p:extLst>
      <p:ext uri="{BB962C8B-B14F-4D97-AF65-F5344CB8AC3E}">
        <p14:creationId xmlns:p14="http://schemas.microsoft.com/office/powerpoint/2010/main" val="15431156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</p:sldLayoutIdLst>
  <p:hf hdr="0" ftr="0" dt="0"/>
  <p:txStyles>
    <p:titleStyle>
      <a:lvl1pPr algn="l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2pPr>
      <a:lvl3pPr algn="l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3pPr>
      <a:lvl4pPr algn="l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4pPr>
      <a:lvl5pPr algn="l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5pPr>
      <a:lvl6pPr marL="457200" algn="l" rtl="0" fontAlgn="base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6pPr>
      <a:lvl7pPr marL="914400" algn="l" rtl="0" fontAlgn="base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7pPr>
      <a:lvl8pPr marL="1371600" algn="l" rtl="0" fontAlgn="base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8pPr>
      <a:lvl9pPr marL="1828800" algn="l" rtl="0" fontAlgn="base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lnSpc>
          <a:spcPct val="106000"/>
        </a:lnSpc>
        <a:spcBef>
          <a:spcPct val="80000"/>
        </a:spcBef>
        <a:spcAft>
          <a:spcPct val="0"/>
        </a:spcAft>
        <a:buClr>
          <a:schemeClr val="tx1"/>
        </a:buClr>
        <a:buSzPct val="80000"/>
        <a:buFont typeface="Wingdings" pitchFamily="2" charset="2"/>
        <a:buChar char="•"/>
        <a:defRPr sz="1100">
          <a:solidFill>
            <a:schemeClr val="tx1"/>
          </a:solidFill>
          <a:latin typeface="+mn-lt"/>
          <a:ea typeface="+mn-ea"/>
          <a:cs typeface="+mn-cs"/>
        </a:defRPr>
      </a:lvl1pPr>
      <a:lvl2pPr marL="169863" indent="-168275" algn="l" rtl="0" eaLnBrk="0" fontAlgn="base" hangingPunct="0">
        <a:lnSpc>
          <a:spcPct val="106000"/>
        </a:lnSpc>
        <a:spcBef>
          <a:spcPct val="80000"/>
        </a:spcBef>
        <a:spcAft>
          <a:spcPct val="0"/>
        </a:spcAft>
        <a:buClr>
          <a:schemeClr val="tx1"/>
        </a:buClr>
        <a:buFont typeface="Wingdings 2" pitchFamily="18" charset="2"/>
        <a:buChar char="¡"/>
        <a:defRPr sz="1100">
          <a:solidFill>
            <a:schemeClr val="tx1"/>
          </a:solidFill>
          <a:latin typeface="+mn-lt"/>
        </a:defRPr>
      </a:lvl2pPr>
      <a:lvl3pPr marL="344488" indent="-173038" algn="l" rtl="0" eaLnBrk="0" fontAlgn="base" hangingPunct="0">
        <a:lnSpc>
          <a:spcPct val="106000"/>
        </a:lnSpc>
        <a:spcBef>
          <a:spcPct val="400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sz="1100">
          <a:solidFill>
            <a:schemeClr val="tx1"/>
          </a:solidFill>
          <a:latin typeface="+mn-lt"/>
        </a:defRPr>
      </a:lvl3pPr>
      <a:lvl4pPr marL="517525" indent="-171450" algn="l" rtl="0" eaLnBrk="0" fontAlgn="base" hangingPunct="0">
        <a:lnSpc>
          <a:spcPct val="106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100">
          <a:solidFill>
            <a:schemeClr val="tx1"/>
          </a:solidFill>
          <a:latin typeface="+mn-lt"/>
        </a:defRPr>
      </a:lvl4pPr>
      <a:lvl5pPr marL="1446213" indent="-2365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chemeClr val="tx1"/>
          </a:solidFill>
          <a:latin typeface="+mn-lt"/>
        </a:defRPr>
      </a:lvl5pPr>
      <a:lvl6pPr marL="1903413" indent="-236538" algn="l" rtl="0" fontAlgn="base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chemeClr val="tx1"/>
          </a:solidFill>
          <a:latin typeface="+mn-lt"/>
        </a:defRPr>
      </a:lvl6pPr>
      <a:lvl7pPr marL="2360613" indent="-236538" algn="l" rtl="0" fontAlgn="base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chemeClr val="tx1"/>
          </a:solidFill>
          <a:latin typeface="+mn-lt"/>
        </a:defRPr>
      </a:lvl7pPr>
      <a:lvl8pPr marL="2817813" indent="-236538" algn="l" rtl="0" fontAlgn="base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chemeClr val="tx1"/>
          </a:solidFill>
          <a:latin typeface="+mn-lt"/>
        </a:defRPr>
      </a:lvl8pPr>
      <a:lvl9pPr marL="3275013" indent="-236538" algn="l" rtl="0" fontAlgn="base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2119" y="1591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354" name="think-cell Slide" r:id="rId7" imgW="493" imgH="493" progId="TCLayout.ActiveDocument.1">
                  <p:embed/>
                </p:oleObj>
              </mc:Choice>
              <mc:Fallback>
                <p:oleObj name="think-cell Slide" r:id="rId7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ext Placeholder 23"/>
          <p:cNvSpPr>
            <a:spLocks noGrp="1"/>
          </p:cNvSpPr>
          <p:nvPr>
            <p:ph type="body" idx="1"/>
          </p:nvPr>
        </p:nvSpPr>
        <p:spPr bwMode="gray">
          <a:xfrm>
            <a:off x="732183" y="1352550"/>
            <a:ext cx="10724474" cy="4637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027" name="Slide Number Placeholder 5"/>
          <p:cNvSpPr txBox="1">
            <a:spLocks/>
          </p:cNvSpPr>
          <p:nvPr/>
        </p:nvSpPr>
        <p:spPr bwMode="gray">
          <a:xfrm>
            <a:off x="11617367" y="6548550"/>
            <a:ext cx="376669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457006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C91E6528-19E5-42D5-B881-BBFA005AB1FE}" type="slidenum">
              <a:rPr lang="en-US" altLang="en-US" sz="800" smtClean="0">
                <a:solidFill>
                  <a:srgbClr val="000000">
                    <a:lumMod val="50000"/>
                    <a:lumOff val="50000"/>
                  </a:srgbClr>
                </a:solidFill>
                <a:latin typeface="Century Gothic" panose="020B0502020202020204" pitchFamily="34" charset="0"/>
              </a:rPr>
              <a:pPr algn="ctr" defTabSz="45700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 sz="800" dirty="0" smtClean="0">
              <a:solidFill>
                <a:srgbClr val="000000">
                  <a:lumMod val="50000"/>
                  <a:lumOff val="50000"/>
                </a:srgbClr>
              </a:solidFill>
              <a:latin typeface="Century Gothic" panose="020B0502020202020204" pitchFamily="34" charset="0"/>
            </a:endParaRPr>
          </a:p>
        </p:txBody>
      </p:sp>
      <p:sp>
        <p:nvSpPr>
          <p:cNvPr id="1028" name="Title Placeholder 22"/>
          <p:cNvSpPr>
            <a:spLocks noGrp="1"/>
          </p:cNvSpPr>
          <p:nvPr>
            <p:ph type="title"/>
          </p:nvPr>
        </p:nvSpPr>
        <p:spPr bwMode="black">
          <a:xfrm>
            <a:off x="732183" y="552453"/>
            <a:ext cx="10724474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 smtClean="0"/>
              <a:t>Click to edit Master title style</a:t>
            </a:r>
          </a:p>
        </p:txBody>
      </p:sp>
      <p:pic>
        <p:nvPicPr>
          <p:cNvPr id="1029" name="Picture 7" descr="AIG_PRI_pms2995.jp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609441" y="6246820"/>
            <a:ext cx="899349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30" name="Group 8"/>
          <p:cNvGrpSpPr>
            <a:grpSpLocks/>
          </p:cNvGrpSpPr>
          <p:nvPr userDrawn="1"/>
        </p:nvGrpSpPr>
        <p:grpSpPr bwMode="auto">
          <a:xfrm flipH="1">
            <a:off x="10716010" y="1"/>
            <a:ext cx="1472816" cy="1119188"/>
            <a:chOff x="1440543" y="1418168"/>
            <a:chExt cx="769056" cy="769056"/>
          </a:xfrm>
        </p:grpSpPr>
        <p:sp>
          <p:nvSpPr>
            <p:cNvPr id="1031" name="Rectangle 15"/>
            <p:cNvSpPr>
              <a:spLocks noChangeArrowheads="1"/>
            </p:cNvSpPr>
            <p:nvPr userDrawn="1"/>
          </p:nvSpPr>
          <p:spPr bwMode="gray">
            <a:xfrm rot="5400000">
              <a:off x="1701804" y="1156907"/>
              <a:ext cx="246534" cy="769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defTabSz="45700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dirty="0" smtClean="0">
                <a:solidFill>
                  <a:srgbClr val="00A4E4"/>
                </a:solidFill>
              </a:endParaRPr>
            </a:p>
          </p:txBody>
        </p:sp>
        <p:sp>
          <p:nvSpPr>
            <p:cNvPr id="1032" name="Rectangle 16"/>
            <p:cNvSpPr>
              <a:spLocks noChangeArrowheads="1"/>
            </p:cNvSpPr>
            <p:nvPr userDrawn="1"/>
          </p:nvSpPr>
          <p:spPr bwMode="gray">
            <a:xfrm>
              <a:off x="1440543" y="1418168"/>
              <a:ext cx="246407" cy="769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defTabSz="45700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dirty="0" smtClean="0">
                <a:solidFill>
                  <a:srgbClr val="00A4E4"/>
                </a:solidFill>
              </a:endParaRPr>
            </a:p>
          </p:txBody>
        </p:sp>
      </p:grpSp>
      <p:sp>
        <p:nvSpPr>
          <p:cNvPr id="10" name="TextBox 9"/>
          <p:cNvSpPr txBox="1"/>
          <p:nvPr userDrawn="1"/>
        </p:nvSpPr>
        <p:spPr>
          <a:xfrm>
            <a:off x="9348282" y="-3486"/>
            <a:ext cx="8813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012"/>
            <a:r>
              <a:rPr lang="en-US" b="1" dirty="0">
                <a:solidFill>
                  <a:srgbClr val="C00000"/>
                </a:solidFill>
                <a:latin typeface="Century Gothic" panose="020B0502020202020204" pitchFamily="34" charset="0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4071056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+mj-lt"/>
          <a:ea typeface="MS PGothic" pitchFamily="34" charset="-128"/>
          <a:cs typeface="+mj-cs"/>
        </a:defRPr>
      </a:lvl1pPr>
      <a:lvl2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2pPr>
      <a:lvl3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3pPr>
      <a:lvl4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4pPr>
      <a:lvl5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5pPr>
      <a:lvl6pPr marL="457006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6pPr>
      <a:lvl7pPr marL="914012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7pPr>
      <a:lvl8pPr marL="1371018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8pPr>
      <a:lvl9pPr marL="1828024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9pPr>
    </p:titleStyle>
    <p:bodyStyle>
      <a:lvl1pPr marL="177724" indent="-177724" algn="l" defTabSz="457006" rtl="0" eaLnBrk="0" fontAlgn="base" hangingPunct="0">
        <a:spcBef>
          <a:spcPts val="1200"/>
        </a:spcBef>
        <a:spcAft>
          <a:spcPct val="0"/>
        </a:spcAft>
        <a:buClr>
          <a:srgbClr val="00A4E4"/>
        </a:buClr>
        <a:buFont typeface="Wingdings" pitchFamily="2" charset="2"/>
        <a:buChar char="§"/>
        <a:tabLst>
          <a:tab pos="8002366" algn="r"/>
        </a:tabLst>
        <a:defRPr sz="1400">
          <a:solidFill>
            <a:srgbClr val="000000"/>
          </a:solidFill>
          <a:latin typeface="+mn-lt"/>
          <a:ea typeface="MS PGothic" pitchFamily="34" charset="-128"/>
          <a:cs typeface="+mn-cs"/>
        </a:defRPr>
      </a:lvl1pPr>
      <a:lvl2pPr marL="361797" indent="-171377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–"/>
        <a:tabLst>
          <a:tab pos="8002366" algn="r"/>
        </a:tabLst>
        <a:defRPr sz="1200">
          <a:solidFill>
            <a:srgbClr val="000000"/>
          </a:solidFill>
          <a:latin typeface="+mn-lt"/>
          <a:ea typeface="MS PGothic" pitchFamily="34" charset="-128"/>
          <a:cs typeface="+mn-cs"/>
        </a:defRPr>
      </a:lvl2pPr>
      <a:lvl3pPr marL="501436" indent="-139641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•"/>
        <a:tabLst>
          <a:tab pos="8002366" algn="r"/>
        </a:tabLst>
        <a:defRPr sz="1000">
          <a:solidFill>
            <a:srgbClr val="000000"/>
          </a:solidFill>
          <a:latin typeface="+mn-lt"/>
          <a:ea typeface="MS PGothic" pitchFamily="34" charset="-128"/>
          <a:cs typeface="+mn-cs"/>
        </a:defRPr>
      </a:lvl3pPr>
      <a:lvl4pPr marL="647425" indent="-152335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–"/>
        <a:tabLst>
          <a:tab pos="8002366" algn="r"/>
        </a:tabLst>
        <a:defRPr sz="1000">
          <a:solidFill>
            <a:srgbClr val="000000"/>
          </a:solidFill>
          <a:latin typeface="+mn-lt"/>
          <a:ea typeface="MS PGothic" pitchFamily="34" charset="-128"/>
          <a:cs typeface="+mn-cs"/>
        </a:defRPr>
      </a:lvl4pPr>
      <a:lvl5pPr marL="791827" indent="-144403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MS PGothic" pitchFamily="34" charset="-128"/>
          <a:cs typeface="+mn-cs"/>
        </a:defRPr>
      </a:lvl5pPr>
      <a:lvl6pPr marL="1248832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6pPr>
      <a:lvl7pPr marL="1705839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7pPr>
      <a:lvl8pPr marL="2162845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8pPr>
      <a:lvl9pPr marL="2619851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06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1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18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24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03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036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04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048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/>
          </p:nvPr>
        </p:nvGraphicFramePr>
        <p:xfrm>
          <a:off x="2119" y="1591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341" name="think-cell Slide" r:id="rId12" imgW="493" imgH="493" progId="TCLayout.ActiveDocument.1">
                  <p:embed/>
                </p:oleObj>
              </mc:Choice>
              <mc:Fallback>
                <p:oleObj name="think-cell Slide" r:id="rId12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ext Placeholder 23"/>
          <p:cNvSpPr>
            <a:spLocks noGrp="1"/>
          </p:cNvSpPr>
          <p:nvPr>
            <p:ph type="body" idx="1"/>
          </p:nvPr>
        </p:nvSpPr>
        <p:spPr bwMode="gray">
          <a:xfrm>
            <a:off x="732183" y="1352550"/>
            <a:ext cx="10724474" cy="4637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027" name="Slide Number Placeholder 5"/>
          <p:cNvSpPr txBox="1">
            <a:spLocks/>
          </p:cNvSpPr>
          <p:nvPr/>
        </p:nvSpPr>
        <p:spPr bwMode="gray">
          <a:xfrm>
            <a:off x="11617367" y="6548550"/>
            <a:ext cx="376669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457006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C91E6528-19E5-42D5-B881-BBFA005AB1FE}" type="slidenum">
              <a:rPr lang="en-US" altLang="en-US" sz="8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algn="ctr" defTabSz="45700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 sz="800" dirty="0" smtClean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1028" name="Title Placeholder 22"/>
          <p:cNvSpPr>
            <a:spLocks noGrp="1"/>
          </p:cNvSpPr>
          <p:nvPr>
            <p:ph type="title"/>
          </p:nvPr>
        </p:nvSpPr>
        <p:spPr bwMode="black">
          <a:xfrm>
            <a:off x="732183" y="552453"/>
            <a:ext cx="10724474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 smtClean="0"/>
              <a:t>Click to edit Master title style</a:t>
            </a:r>
          </a:p>
        </p:txBody>
      </p:sp>
      <p:pic>
        <p:nvPicPr>
          <p:cNvPr id="1029" name="Picture 7" descr="AIG_PRI_pms2995.jpg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609441" y="6246820"/>
            <a:ext cx="899349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30" name="Group 8"/>
          <p:cNvGrpSpPr>
            <a:grpSpLocks/>
          </p:cNvGrpSpPr>
          <p:nvPr userDrawn="1"/>
        </p:nvGrpSpPr>
        <p:grpSpPr bwMode="auto">
          <a:xfrm flipH="1">
            <a:off x="10716010" y="1"/>
            <a:ext cx="1472816" cy="1119188"/>
            <a:chOff x="1440543" y="1418168"/>
            <a:chExt cx="769056" cy="769056"/>
          </a:xfrm>
        </p:grpSpPr>
        <p:sp>
          <p:nvSpPr>
            <p:cNvPr id="1031" name="Rectangle 15"/>
            <p:cNvSpPr>
              <a:spLocks noChangeArrowheads="1"/>
            </p:cNvSpPr>
            <p:nvPr userDrawn="1"/>
          </p:nvSpPr>
          <p:spPr bwMode="gray">
            <a:xfrm rot="5400000">
              <a:off x="1701804" y="1156907"/>
              <a:ext cx="246534" cy="769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defTabSz="45700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dirty="0" smtClean="0">
                <a:solidFill>
                  <a:srgbClr val="00A4E4"/>
                </a:solidFill>
              </a:endParaRPr>
            </a:p>
          </p:txBody>
        </p:sp>
        <p:sp>
          <p:nvSpPr>
            <p:cNvPr id="1032" name="Rectangle 16"/>
            <p:cNvSpPr>
              <a:spLocks noChangeArrowheads="1"/>
            </p:cNvSpPr>
            <p:nvPr userDrawn="1"/>
          </p:nvSpPr>
          <p:spPr bwMode="gray">
            <a:xfrm>
              <a:off x="1440543" y="1418168"/>
              <a:ext cx="246407" cy="769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defTabSz="45700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dirty="0" smtClean="0">
                <a:solidFill>
                  <a:srgbClr val="00A4E4"/>
                </a:solidFill>
              </a:endParaRPr>
            </a:p>
          </p:txBody>
        </p:sp>
      </p:grpSp>
      <p:sp>
        <p:nvSpPr>
          <p:cNvPr id="11" name="Rectangle 10"/>
          <p:cNvSpPr/>
          <p:nvPr userDrawn="1"/>
        </p:nvSpPr>
        <p:spPr>
          <a:xfrm>
            <a:off x="7901311" y="6596390"/>
            <a:ext cx="284882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FIDENTIAL DRAFT. DO NOT DISTRIBUTE.</a:t>
            </a:r>
            <a:endParaRPr lang="en-US" sz="11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42116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4" r:id="rId5"/>
    <p:sldLayoutId id="2147483745" r:id="rId6"/>
    <p:sldLayoutId id="2147483746" r:id="rId7"/>
    <p:sldLayoutId id="2147483747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+mj-lt"/>
          <a:ea typeface="MS PGothic" pitchFamily="34" charset="-128"/>
          <a:cs typeface="+mj-cs"/>
        </a:defRPr>
      </a:lvl1pPr>
      <a:lvl2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2pPr>
      <a:lvl3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3pPr>
      <a:lvl4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4pPr>
      <a:lvl5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5pPr>
      <a:lvl6pPr marL="457006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6pPr>
      <a:lvl7pPr marL="914012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7pPr>
      <a:lvl8pPr marL="1371018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8pPr>
      <a:lvl9pPr marL="1828024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9pPr>
    </p:titleStyle>
    <p:bodyStyle>
      <a:lvl1pPr marL="177724" indent="-177724" algn="l" defTabSz="457006" rtl="0" eaLnBrk="0" fontAlgn="base" hangingPunct="0">
        <a:spcBef>
          <a:spcPts val="1200"/>
        </a:spcBef>
        <a:spcAft>
          <a:spcPct val="0"/>
        </a:spcAft>
        <a:buClr>
          <a:srgbClr val="00A4E4"/>
        </a:buClr>
        <a:buFont typeface="Wingdings" pitchFamily="2" charset="2"/>
        <a:buChar char="§"/>
        <a:tabLst>
          <a:tab pos="8002366" algn="r"/>
        </a:tabLst>
        <a:defRPr sz="1400">
          <a:solidFill>
            <a:srgbClr val="000000"/>
          </a:solidFill>
          <a:latin typeface="+mn-lt"/>
          <a:ea typeface="MS PGothic" pitchFamily="34" charset="-128"/>
          <a:cs typeface="+mn-cs"/>
        </a:defRPr>
      </a:lvl1pPr>
      <a:lvl2pPr marL="361797" indent="-171377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–"/>
        <a:tabLst>
          <a:tab pos="8002366" algn="r"/>
        </a:tabLst>
        <a:defRPr sz="1200">
          <a:solidFill>
            <a:srgbClr val="000000"/>
          </a:solidFill>
          <a:latin typeface="+mn-lt"/>
          <a:ea typeface="MS PGothic" pitchFamily="34" charset="-128"/>
          <a:cs typeface="+mn-cs"/>
        </a:defRPr>
      </a:lvl2pPr>
      <a:lvl3pPr marL="501436" indent="-139641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•"/>
        <a:tabLst>
          <a:tab pos="8002366" algn="r"/>
        </a:tabLst>
        <a:defRPr sz="1000">
          <a:solidFill>
            <a:srgbClr val="000000"/>
          </a:solidFill>
          <a:latin typeface="+mn-lt"/>
          <a:ea typeface="MS PGothic" pitchFamily="34" charset="-128"/>
          <a:cs typeface="+mn-cs"/>
        </a:defRPr>
      </a:lvl3pPr>
      <a:lvl4pPr marL="647425" indent="-152335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–"/>
        <a:tabLst>
          <a:tab pos="8002366" algn="r"/>
        </a:tabLst>
        <a:defRPr sz="1000">
          <a:solidFill>
            <a:srgbClr val="000000"/>
          </a:solidFill>
          <a:latin typeface="+mn-lt"/>
          <a:ea typeface="MS PGothic" pitchFamily="34" charset="-128"/>
          <a:cs typeface="+mn-cs"/>
        </a:defRPr>
      </a:lvl4pPr>
      <a:lvl5pPr marL="791827" indent="-144403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MS PGothic" pitchFamily="34" charset="-128"/>
          <a:cs typeface="+mn-cs"/>
        </a:defRPr>
      </a:lvl5pPr>
      <a:lvl6pPr marL="1248832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6pPr>
      <a:lvl7pPr marL="1705839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7pPr>
      <a:lvl8pPr marL="2162845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8pPr>
      <a:lvl9pPr marL="2619851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06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1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18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24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03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036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04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048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/>
          </p:nvPr>
        </p:nvGraphicFramePr>
        <p:xfrm>
          <a:off x="2119" y="1591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126" name="think-cell Slide" r:id="rId12" imgW="493" imgH="493" progId="TCLayout.ActiveDocument.1">
                  <p:embed/>
                </p:oleObj>
              </mc:Choice>
              <mc:Fallback>
                <p:oleObj name="think-cell Slide" r:id="rId12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ext Placeholder 23"/>
          <p:cNvSpPr>
            <a:spLocks noGrp="1"/>
          </p:cNvSpPr>
          <p:nvPr>
            <p:ph type="body" idx="1"/>
          </p:nvPr>
        </p:nvSpPr>
        <p:spPr bwMode="gray">
          <a:xfrm>
            <a:off x="732183" y="1352550"/>
            <a:ext cx="10724474" cy="4637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027" name="Slide Number Placeholder 5"/>
          <p:cNvSpPr txBox="1">
            <a:spLocks/>
          </p:cNvSpPr>
          <p:nvPr/>
        </p:nvSpPr>
        <p:spPr bwMode="gray">
          <a:xfrm>
            <a:off x="11617367" y="6548550"/>
            <a:ext cx="376669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457006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C91E6528-19E5-42D5-B881-BBFA005AB1FE}" type="slidenum">
              <a:rPr lang="en-US" altLang="en-US" sz="8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algn="ctr" defTabSz="45700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 sz="800" dirty="0" smtClean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1028" name="Title Placeholder 22"/>
          <p:cNvSpPr>
            <a:spLocks noGrp="1"/>
          </p:cNvSpPr>
          <p:nvPr>
            <p:ph type="title"/>
          </p:nvPr>
        </p:nvSpPr>
        <p:spPr bwMode="black">
          <a:xfrm>
            <a:off x="732183" y="552453"/>
            <a:ext cx="10724474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 smtClean="0"/>
              <a:t>Click to edit Master title style</a:t>
            </a:r>
          </a:p>
        </p:txBody>
      </p:sp>
      <p:pic>
        <p:nvPicPr>
          <p:cNvPr id="1029" name="Picture 7" descr="AIG_PRI_pms2995.jpg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609441" y="6246820"/>
            <a:ext cx="899349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30" name="Group 8"/>
          <p:cNvGrpSpPr>
            <a:grpSpLocks/>
          </p:cNvGrpSpPr>
          <p:nvPr userDrawn="1"/>
        </p:nvGrpSpPr>
        <p:grpSpPr bwMode="auto">
          <a:xfrm flipH="1">
            <a:off x="10716010" y="1"/>
            <a:ext cx="1472816" cy="1119188"/>
            <a:chOff x="1440543" y="1418168"/>
            <a:chExt cx="769056" cy="769056"/>
          </a:xfrm>
        </p:grpSpPr>
        <p:sp>
          <p:nvSpPr>
            <p:cNvPr id="1031" name="Rectangle 15"/>
            <p:cNvSpPr>
              <a:spLocks noChangeArrowheads="1"/>
            </p:cNvSpPr>
            <p:nvPr userDrawn="1"/>
          </p:nvSpPr>
          <p:spPr bwMode="gray">
            <a:xfrm rot="5400000">
              <a:off x="1701804" y="1156907"/>
              <a:ext cx="246534" cy="769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defTabSz="45700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dirty="0" smtClean="0">
                <a:solidFill>
                  <a:srgbClr val="00A4E4"/>
                </a:solidFill>
              </a:endParaRPr>
            </a:p>
          </p:txBody>
        </p:sp>
        <p:sp>
          <p:nvSpPr>
            <p:cNvPr id="1032" name="Rectangle 16"/>
            <p:cNvSpPr>
              <a:spLocks noChangeArrowheads="1"/>
            </p:cNvSpPr>
            <p:nvPr userDrawn="1"/>
          </p:nvSpPr>
          <p:spPr bwMode="gray">
            <a:xfrm>
              <a:off x="1440543" y="1418168"/>
              <a:ext cx="246407" cy="769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defTabSz="45700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dirty="0" smtClean="0">
                <a:solidFill>
                  <a:srgbClr val="00A4E4"/>
                </a:solidFill>
              </a:endParaRPr>
            </a:p>
          </p:txBody>
        </p:sp>
      </p:grpSp>
      <p:sp>
        <p:nvSpPr>
          <p:cNvPr id="11" name="Rectangle 10"/>
          <p:cNvSpPr/>
          <p:nvPr userDrawn="1"/>
        </p:nvSpPr>
        <p:spPr>
          <a:xfrm>
            <a:off x="7901311" y="6596390"/>
            <a:ext cx="284882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FIDENTIAL DRAFT. DO NOT DISTRIBUTE.</a:t>
            </a:r>
            <a:endParaRPr lang="en-US" sz="11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8546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4" r:id="rId5"/>
    <p:sldLayoutId id="2147483755" r:id="rId6"/>
    <p:sldLayoutId id="2147483756" r:id="rId7"/>
    <p:sldLayoutId id="2147483757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+mj-lt"/>
          <a:ea typeface="MS PGothic" pitchFamily="34" charset="-128"/>
          <a:cs typeface="+mj-cs"/>
        </a:defRPr>
      </a:lvl1pPr>
      <a:lvl2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2pPr>
      <a:lvl3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3pPr>
      <a:lvl4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4pPr>
      <a:lvl5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5pPr>
      <a:lvl6pPr marL="457006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6pPr>
      <a:lvl7pPr marL="914012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7pPr>
      <a:lvl8pPr marL="1371018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8pPr>
      <a:lvl9pPr marL="1828024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9pPr>
    </p:titleStyle>
    <p:bodyStyle>
      <a:lvl1pPr marL="177724" indent="-177724" algn="l" defTabSz="457006" rtl="0" eaLnBrk="0" fontAlgn="base" hangingPunct="0">
        <a:spcBef>
          <a:spcPts val="1200"/>
        </a:spcBef>
        <a:spcAft>
          <a:spcPct val="0"/>
        </a:spcAft>
        <a:buClr>
          <a:srgbClr val="00A4E4"/>
        </a:buClr>
        <a:buFont typeface="Wingdings" pitchFamily="2" charset="2"/>
        <a:buChar char="§"/>
        <a:tabLst>
          <a:tab pos="8002366" algn="r"/>
        </a:tabLst>
        <a:defRPr sz="1400">
          <a:solidFill>
            <a:srgbClr val="000000"/>
          </a:solidFill>
          <a:latin typeface="+mn-lt"/>
          <a:ea typeface="MS PGothic" pitchFamily="34" charset="-128"/>
          <a:cs typeface="+mn-cs"/>
        </a:defRPr>
      </a:lvl1pPr>
      <a:lvl2pPr marL="361797" indent="-171377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–"/>
        <a:tabLst>
          <a:tab pos="8002366" algn="r"/>
        </a:tabLst>
        <a:defRPr sz="1200">
          <a:solidFill>
            <a:srgbClr val="000000"/>
          </a:solidFill>
          <a:latin typeface="+mn-lt"/>
          <a:ea typeface="MS PGothic" pitchFamily="34" charset="-128"/>
          <a:cs typeface="+mn-cs"/>
        </a:defRPr>
      </a:lvl2pPr>
      <a:lvl3pPr marL="501436" indent="-139641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•"/>
        <a:tabLst>
          <a:tab pos="8002366" algn="r"/>
        </a:tabLst>
        <a:defRPr sz="1000">
          <a:solidFill>
            <a:srgbClr val="000000"/>
          </a:solidFill>
          <a:latin typeface="+mn-lt"/>
          <a:ea typeface="MS PGothic" pitchFamily="34" charset="-128"/>
          <a:cs typeface="+mn-cs"/>
        </a:defRPr>
      </a:lvl3pPr>
      <a:lvl4pPr marL="647425" indent="-152335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–"/>
        <a:tabLst>
          <a:tab pos="8002366" algn="r"/>
        </a:tabLst>
        <a:defRPr sz="1000">
          <a:solidFill>
            <a:srgbClr val="000000"/>
          </a:solidFill>
          <a:latin typeface="+mn-lt"/>
          <a:ea typeface="MS PGothic" pitchFamily="34" charset="-128"/>
          <a:cs typeface="+mn-cs"/>
        </a:defRPr>
      </a:lvl4pPr>
      <a:lvl5pPr marL="791827" indent="-144403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MS PGothic" pitchFamily="34" charset="-128"/>
          <a:cs typeface="+mn-cs"/>
        </a:defRPr>
      </a:lvl5pPr>
      <a:lvl6pPr marL="1248832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6pPr>
      <a:lvl7pPr marL="1705839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7pPr>
      <a:lvl8pPr marL="2162845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8pPr>
      <a:lvl9pPr marL="2619851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06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1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18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24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03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036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04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048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2119" y="1591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171" name="think-cell Slide" r:id="rId8" imgW="493" imgH="493" progId="TCLayout.ActiveDocument.1">
                  <p:embed/>
                </p:oleObj>
              </mc:Choice>
              <mc:Fallback>
                <p:oleObj name="think-cell Slide" r:id="rId8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ext Placeholder 23"/>
          <p:cNvSpPr>
            <a:spLocks noGrp="1"/>
          </p:cNvSpPr>
          <p:nvPr>
            <p:ph type="body" idx="1"/>
          </p:nvPr>
        </p:nvSpPr>
        <p:spPr bwMode="gray">
          <a:xfrm>
            <a:off x="732183" y="1352550"/>
            <a:ext cx="10724474" cy="4637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027" name="Slide Number Placeholder 5"/>
          <p:cNvSpPr txBox="1">
            <a:spLocks/>
          </p:cNvSpPr>
          <p:nvPr/>
        </p:nvSpPr>
        <p:spPr bwMode="gray">
          <a:xfrm>
            <a:off x="11617367" y="6548550"/>
            <a:ext cx="376669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457006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C91E6528-19E5-42D5-B881-BBFA005AB1FE}" type="slidenum">
              <a:rPr lang="en-US" altLang="en-US" sz="800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algn="ctr" defTabSz="45700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 sz="800" dirty="0" smtClean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sp>
        <p:nvSpPr>
          <p:cNvPr id="1028" name="Title Placeholder 22"/>
          <p:cNvSpPr>
            <a:spLocks noGrp="1"/>
          </p:cNvSpPr>
          <p:nvPr>
            <p:ph type="title"/>
          </p:nvPr>
        </p:nvSpPr>
        <p:spPr bwMode="black">
          <a:xfrm>
            <a:off x="732183" y="552453"/>
            <a:ext cx="10724474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 smtClean="0"/>
              <a:t>Click to edit Master title style</a:t>
            </a:r>
          </a:p>
        </p:txBody>
      </p:sp>
      <p:pic>
        <p:nvPicPr>
          <p:cNvPr id="1029" name="Picture 7" descr="AIG_PRI_pms2995.jpg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609441" y="6246820"/>
            <a:ext cx="899349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30" name="Group 8"/>
          <p:cNvGrpSpPr>
            <a:grpSpLocks/>
          </p:cNvGrpSpPr>
          <p:nvPr userDrawn="1"/>
        </p:nvGrpSpPr>
        <p:grpSpPr bwMode="auto">
          <a:xfrm flipH="1">
            <a:off x="10716010" y="1"/>
            <a:ext cx="1472816" cy="1119188"/>
            <a:chOff x="1440543" y="1418168"/>
            <a:chExt cx="769056" cy="769056"/>
          </a:xfrm>
        </p:grpSpPr>
        <p:sp>
          <p:nvSpPr>
            <p:cNvPr id="1031" name="Rectangle 15"/>
            <p:cNvSpPr>
              <a:spLocks noChangeArrowheads="1"/>
            </p:cNvSpPr>
            <p:nvPr userDrawn="1"/>
          </p:nvSpPr>
          <p:spPr bwMode="gray">
            <a:xfrm rot="5400000">
              <a:off x="1701804" y="1156907"/>
              <a:ext cx="246534" cy="769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defTabSz="45700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dirty="0" smtClean="0">
                <a:solidFill>
                  <a:srgbClr val="00A4E4"/>
                </a:solidFill>
              </a:endParaRPr>
            </a:p>
          </p:txBody>
        </p:sp>
        <p:sp>
          <p:nvSpPr>
            <p:cNvPr id="1032" name="Rectangle 16"/>
            <p:cNvSpPr>
              <a:spLocks noChangeArrowheads="1"/>
            </p:cNvSpPr>
            <p:nvPr userDrawn="1"/>
          </p:nvSpPr>
          <p:spPr bwMode="gray">
            <a:xfrm>
              <a:off x="1440543" y="1418168"/>
              <a:ext cx="246407" cy="769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defTabSz="45700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dirty="0" smtClean="0">
                <a:solidFill>
                  <a:srgbClr val="00A4E4"/>
                </a:solidFill>
              </a:endParaRPr>
            </a:p>
          </p:txBody>
        </p:sp>
      </p:grpSp>
      <p:sp>
        <p:nvSpPr>
          <p:cNvPr id="11" name="Rectangle 10"/>
          <p:cNvSpPr/>
          <p:nvPr userDrawn="1"/>
        </p:nvSpPr>
        <p:spPr>
          <a:xfrm>
            <a:off x="7901311" y="6596390"/>
            <a:ext cx="284882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FIDENTIAL DRAFT. DO NOT DISTRIBUTE.</a:t>
            </a:r>
            <a:endParaRPr lang="en-US" sz="11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94420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+mj-lt"/>
          <a:ea typeface="MS PGothic" pitchFamily="34" charset="-128"/>
          <a:cs typeface="+mj-cs"/>
        </a:defRPr>
      </a:lvl1pPr>
      <a:lvl2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2pPr>
      <a:lvl3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3pPr>
      <a:lvl4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4pPr>
      <a:lvl5pPr algn="l" defTabSz="457006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MS PGothic" pitchFamily="34" charset="-128"/>
          <a:cs typeface="Arial" pitchFamily="34" charset="0"/>
        </a:defRPr>
      </a:lvl5pPr>
      <a:lvl6pPr marL="457006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6pPr>
      <a:lvl7pPr marL="914012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7pPr>
      <a:lvl8pPr marL="1371018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8pPr>
      <a:lvl9pPr marL="1828024" algn="l" defTabSz="457006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ＭＳ Ｐゴシック" pitchFamily="34" charset="-128"/>
          <a:cs typeface="Arial" pitchFamily="34" charset="0"/>
        </a:defRPr>
      </a:lvl9pPr>
    </p:titleStyle>
    <p:bodyStyle>
      <a:lvl1pPr marL="177724" indent="-177724" algn="l" defTabSz="457006" rtl="0" eaLnBrk="0" fontAlgn="base" hangingPunct="0">
        <a:spcBef>
          <a:spcPts val="1200"/>
        </a:spcBef>
        <a:spcAft>
          <a:spcPct val="0"/>
        </a:spcAft>
        <a:buClr>
          <a:srgbClr val="00A4E4"/>
        </a:buClr>
        <a:buFont typeface="Wingdings" pitchFamily="2" charset="2"/>
        <a:buChar char="§"/>
        <a:tabLst>
          <a:tab pos="8002366" algn="r"/>
        </a:tabLst>
        <a:defRPr sz="1400">
          <a:solidFill>
            <a:srgbClr val="000000"/>
          </a:solidFill>
          <a:latin typeface="+mn-lt"/>
          <a:ea typeface="MS PGothic" pitchFamily="34" charset="-128"/>
          <a:cs typeface="+mn-cs"/>
        </a:defRPr>
      </a:lvl1pPr>
      <a:lvl2pPr marL="361797" indent="-171377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–"/>
        <a:tabLst>
          <a:tab pos="8002366" algn="r"/>
        </a:tabLst>
        <a:defRPr sz="1200">
          <a:solidFill>
            <a:srgbClr val="000000"/>
          </a:solidFill>
          <a:latin typeface="+mn-lt"/>
          <a:ea typeface="MS PGothic" pitchFamily="34" charset="-128"/>
          <a:cs typeface="+mn-cs"/>
        </a:defRPr>
      </a:lvl2pPr>
      <a:lvl3pPr marL="501436" indent="-139641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•"/>
        <a:tabLst>
          <a:tab pos="8002366" algn="r"/>
        </a:tabLst>
        <a:defRPr sz="1000">
          <a:solidFill>
            <a:srgbClr val="000000"/>
          </a:solidFill>
          <a:latin typeface="+mn-lt"/>
          <a:ea typeface="MS PGothic" pitchFamily="34" charset="-128"/>
          <a:cs typeface="+mn-cs"/>
        </a:defRPr>
      </a:lvl3pPr>
      <a:lvl4pPr marL="647425" indent="-152335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–"/>
        <a:tabLst>
          <a:tab pos="8002366" algn="r"/>
        </a:tabLst>
        <a:defRPr sz="1000">
          <a:solidFill>
            <a:srgbClr val="000000"/>
          </a:solidFill>
          <a:latin typeface="+mn-lt"/>
          <a:ea typeface="MS PGothic" pitchFamily="34" charset="-128"/>
          <a:cs typeface="+mn-cs"/>
        </a:defRPr>
      </a:lvl4pPr>
      <a:lvl5pPr marL="791827" indent="-144403" algn="l" defTabSz="457006" rtl="0" eaLnBrk="0" fontAlgn="base" hangingPunct="0">
        <a:spcBef>
          <a:spcPts val="300"/>
        </a:spcBef>
        <a:spcAft>
          <a:spcPct val="0"/>
        </a:spcAft>
        <a:buClr>
          <a:srgbClr val="00A4E4"/>
        </a:buClr>
        <a:buFont typeface="Arial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MS PGothic" pitchFamily="34" charset="-128"/>
          <a:cs typeface="+mn-cs"/>
        </a:defRPr>
      </a:lvl5pPr>
      <a:lvl6pPr marL="1248832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6pPr>
      <a:lvl7pPr marL="1705839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7pPr>
      <a:lvl8pPr marL="2162845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8pPr>
      <a:lvl9pPr marL="2619851" indent="-144403" algn="l" defTabSz="457006" rtl="0" eaLnBrk="1" fontAlgn="base" hangingPunct="1">
        <a:spcBef>
          <a:spcPts val="300"/>
        </a:spcBef>
        <a:spcAft>
          <a:spcPct val="0"/>
        </a:spcAft>
        <a:buClr>
          <a:srgbClr val="00A4E4"/>
        </a:buClr>
        <a:buFont typeface="Arial" pitchFamily="34" charset="0"/>
        <a:buChar char="»"/>
        <a:tabLst>
          <a:tab pos="8002366" algn="r"/>
        </a:tabLst>
        <a:defRPr sz="10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06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1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18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24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03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036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04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048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9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0.xml"/><Relationship Id="rId1" Type="http://schemas.openxmlformats.org/officeDocument/2006/relationships/tags" Target="../tags/tag3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2.jpe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Weekly Chats with Global I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06186" y="5061673"/>
            <a:ext cx="4316876" cy="1110529"/>
          </a:xfrm>
        </p:spPr>
        <p:txBody>
          <a:bodyPr>
            <a:normAutofit/>
          </a:bodyPr>
          <a:lstStyle/>
          <a:p>
            <a:r>
              <a:rPr lang="en-US" sz="1200" dirty="0" smtClean="0"/>
              <a:t>“DevOps Overview” with Naveen Jogi</a:t>
            </a:r>
          </a:p>
          <a:p>
            <a:endParaRPr lang="en-US" sz="1200" dirty="0" smtClean="0"/>
          </a:p>
          <a:p>
            <a:r>
              <a:rPr lang="en-US" sz="1200" dirty="0" smtClean="0"/>
              <a:t>	Tuesday, February 20, 2018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4039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2333767" y="1924334"/>
            <a:ext cx="7001302" cy="22928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600" dirty="0" smtClean="0">
                <a:solidFill>
                  <a:prstClr val="whit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HANK YOU</a:t>
            </a:r>
            <a:endParaRPr lang="en-US" sz="2600" dirty="0">
              <a:solidFill>
                <a:prstClr val="whit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184120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Opening Remarks &amp; Announcements</a:t>
            </a:r>
          </a:p>
          <a:p>
            <a:endParaRPr lang="en-US" dirty="0" smtClean="0"/>
          </a:p>
          <a:p>
            <a:r>
              <a:rPr lang="en-US" dirty="0" smtClean="0"/>
              <a:t>Olympics have begun – Go for GOLD! Join </a:t>
            </a:r>
            <a:r>
              <a:rPr lang="en-US" dirty="0"/>
              <a:t>the Yammer group </a:t>
            </a:r>
            <a:endParaRPr lang="en-US" dirty="0" smtClean="0"/>
          </a:p>
          <a:p>
            <a:endParaRPr lang="en-US" dirty="0" smtClean="0"/>
          </a:p>
          <a:p>
            <a:r>
              <a:rPr lang="en-US" dirty="0" err="1" smtClean="0"/>
              <a:t>Suhas</a:t>
            </a:r>
            <a:r>
              <a:rPr lang="en-US" dirty="0" smtClean="0"/>
              <a:t> </a:t>
            </a:r>
            <a:r>
              <a:rPr lang="en-US" dirty="0" err="1" smtClean="0"/>
              <a:t>Yerra’s</a:t>
            </a:r>
            <a:r>
              <a:rPr lang="en-US" dirty="0" smtClean="0"/>
              <a:t> town hall Wednesday Feb 21 from 8-9pm EST or Thursday Feb 22 from 9-10am EST</a:t>
            </a:r>
          </a:p>
          <a:p>
            <a:endParaRPr lang="en-US" dirty="0"/>
          </a:p>
          <a:p>
            <a:r>
              <a:rPr lang="en-US" dirty="0" smtClean="0"/>
              <a:t>Want to ask a question?</a:t>
            </a:r>
          </a:p>
          <a:p>
            <a:pPr lvl="1"/>
            <a:r>
              <a:rPr lang="en-US" dirty="0" smtClean="0"/>
              <a:t>Use Yammer, the SharePoint, or Chat within WebEx to let us know you have a question</a:t>
            </a:r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r>
              <a:rPr lang="en-US" dirty="0" smtClean="0"/>
              <a:t>REMINDER: We are recording the presentation, please make sure to mute unless you are asking a question during the Q&amp;A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>
          <a:xfrm>
            <a:off x="11457587" y="6512334"/>
            <a:ext cx="76924" cy="276999"/>
          </a:xfrm>
        </p:spPr>
        <p:txBody>
          <a:bodyPr/>
          <a:lstStyle/>
          <a:p>
            <a:fld id="{7505E45A-03BB-464B-8278-1A9522AE72B1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441" y="409662"/>
            <a:ext cx="10969943" cy="647699"/>
          </a:xfrm>
        </p:spPr>
        <p:txBody>
          <a:bodyPr>
            <a:normAutofit/>
          </a:bodyPr>
          <a:lstStyle/>
          <a:p>
            <a:r>
              <a:rPr lang="en-US" altLang="en-US" sz="3200" dirty="0" smtClean="0"/>
              <a:t>Agenda for Today’s Chat</a:t>
            </a:r>
            <a:endParaRPr lang="en-US" sz="320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35036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6923518" y="3867775"/>
            <a:ext cx="482869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NextGen DevOp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271930" y="5349925"/>
            <a:ext cx="2565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resented For: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9296265" y="5349924"/>
            <a:ext cx="2565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repared By: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271929" y="5694879"/>
            <a:ext cx="301991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NextGen IT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9296265" y="5694879"/>
            <a:ext cx="27652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General Insurance DevOps Engineering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6399274" y="5590355"/>
            <a:ext cx="243776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9314448" y="5596143"/>
            <a:ext cx="243776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720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976" y="1827729"/>
            <a:ext cx="5924550" cy="386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5646820" y="3442243"/>
            <a:ext cx="1206968" cy="1312730"/>
          </a:xfrm>
          <a:prstGeom prst="rect">
            <a:avLst/>
          </a:prstGeom>
          <a:solidFill>
            <a:schemeClr val="accent3">
              <a:lumMod val="50000"/>
              <a:alpha val="8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b"/>
          <a:lstStyle/>
          <a:p>
            <a:pPr algn="ctr"/>
            <a:r>
              <a:rPr lang="en-US" sz="3000" dirty="0" smtClean="0">
                <a:solidFill>
                  <a:srgbClr val="FFFF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Feb 2018</a:t>
            </a:r>
          </a:p>
        </p:txBody>
      </p:sp>
    </p:spTree>
    <p:extLst>
      <p:ext uri="{BB962C8B-B14F-4D97-AF65-F5344CB8AC3E}">
        <p14:creationId xmlns:p14="http://schemas.microsoft.com/office/powerpoint/2010/main" val="170872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/>
        </p:nvSpPr>
        <p:spPr>
          <a:xfrm rot="5400000">
            <a:off x="10439071" y="253826"/>
            <a:ext cx="400628" cy="1040564"/>
          </a:xfrm>
          <a:prstGeom prst="rect">
            <a:avLst/>
          </a:prstGeom>
          <a:solidFill>
            <a:srgbClr val="B8E0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/>
          <p:cNvSpPr/>
          <p:nvPr/>
        </p:nvSpPr>
        <p:spPr>
          <a:xfrm rot="5400000">
            <a:off x="7224676" y="225300"/>
            <a:ext cx="400628" cy="1040564"/>
          </a:xfrm>
          <a:prstGeom prst="rect">
            <a:avLst/>
          </a:prstGeom>
          <a:solidFill>
            <a:srgbClr val="B8E0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/>
          <p:cNvSpPr/>
          <p:nvPr/>
        </p:nvSpPr>
        <p:spPr>
          <a:xfrm rot="5400000">
            <a:off x="2554867" y="5699306"/>
            <a:ext cx="400628" cy="1040564"/>
          </a:xfrm>
          <a:prstGeom prst="rect">
            <a:avLst/>
          </a:prstGeom>
          <a:solidFill>
            <a:srgbClr val="B8E0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117986" y="723727"/>
            <a:ext cx="400628" cy="1412388"/>
          </a:xfrm>
          <a:prstGeom prst="rect">
            <a:avLst/>
          </a:prstGeom>
          <a:solidFill>
            <a:srgbClr val="B8E0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7327966" y="3805590"/>
            <a:ext cx="1966764" cy="11464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0"/>
          <p:cNvSpPr/>
          <p:nvPr/>
        </p:nvSpPr>
        <p:spPr>
          <a:xfrm>
            <a:off x="145282" y="92065"/>
            <a:ext cx="5049672" cy="504967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9F9F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evOps Engineering &amp; Continuous Delivery</a:t>
            </a:r>
            <a:endParaRPr lang="en-US" b="1" dirty="0">
              <a:solidFill>
                <a:srgbClr val="F9F9F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082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868" y="2340189"/>
            <a:ext cx="5588620" cy="36072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ounded Rectangle 7"/>
          <p:cNvSpPr/>
          <p:nvPr/>
        </p:nvSpPr>
        <p:spPr>
          <a:xfrm>
            <a:off x="6031428" y="3805590"/>
            <a:ext cx="1514902" cy="1146412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ransformation Services</a:t>
            </a:r>
            <a:endParaRPr lang="en-US" sz="1200" b="1" dirty="0">
              <a:solidFill>
                <a:schemeClr val="tx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573626" y="3901125"/>
            <a:ext cx="167867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IaaS/PaaS PO</a:t>
            </a:r>
          </a:p>
          <a:p>
            <a:r>
              <a:rPr lang="en-US" sz="1000" dirty="0" smtClean="0"/>
              <a:t>PaaS Implementation</a:t>
            </a:r>
          </a:p>
          <a:p>
            <a:r>
              <a:rPr lang="en-US" sz="1000" dirty="0" smtClean="0"/>
              <a:t>IaaS Enablement</a:t>
            </a:r>
          </a:p>
          <a:p>
            <a:r>
              <a:rPr lang="en-US" sz="1000" dirty="0" smtClean="0"/>
              <a:t>CI/CD Pipeline Strategy</a:t>
            </a:r>
          </a:p>
          <a:p>
            <a:r>
              <a:rPr lang="en-US" sz="1000" dirty="0" smtClean="0"/>
              <a:t>Release/Change Strategy</a:t>
            </a:r>
          </a:p>
          <a:p>
            <a:r>
              <a:rPr lang="en-US" sz="1000" dirty="0" smtClean="0"/>
              <a:t>DevOps Shift</a:t>
            </a:r>
            <a:endParaRPr lang="en-US" sz="1000" dirty="0"/>
          </a:p>
        </p:txBody>
      </p:sp>
      <p:sp>
        <p:nvSpPr>
          <p:cNvPr id="15" name="Rectangle 14"/>
          <p:cNvSpPr/>
          <p:nvPr/>
        </p:nvSpPr>
        <p:spPr>
          <a:xfrm>
            <a:off x="7327966" y="5220187"/>
            <a:ext cx="1966764" cy="11464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ounded Rectangle 15"/>
          <p:cNvSpPr/>
          <p:nvPr/>
        </p:nvSpPr>
        <p:spPr>
          <a:xfrm>
            <a:off x="6031428" y="5220187"/>
            <a:ext cx="1514902" cy="1146412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mplementation Services</a:t>
            </a:r>
            <a:endParaRPr lang="en-US" sz="1200" b="1" dirty="0">
              <a:solidFill>
                <a:schemeClr val="tx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573626" y="5220749"/>
            <a:ext cx="167867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Value Streaming</a:t>
            </a:r>
          </a:p>
          <a:p>
            <a:r>
              <a:rPr lang="en-US" sz="1000" dirty="0" smtClean="0"/>
              <a:t>CI/CD pipeline adoption</a:t>
            </a:r>
          </a:p>
          <a:p>
            <a:r>
              <a:rPr lang="en-US" sz="1000" dirty="0" smtClean="0"/>
              <a:t>Cloud Enablement</a:t>
            </a:r>
          </a:p>
          <a:p>
            <a:r>
              <a:rPr lang="en-US" sz="1000" dirty="0" smtClean="0"/>
              <a:t>Quality Gate Implements</a:t>
            </a:r>
          </a:p>
          <a:p>
            <a:r>
              <a:rPr lang="en-US" sz="1000" dirty="0" smtClean="0"/>
              <a:t>Release Automation</a:t>
            </a:r>
          </a:p>
          <a:p>
            <a:r>
              <a:rPr lang="en-US" sz="1000" dirty="0" smtClean="0"/>
              <a:t>Rally Access Mgmt.</a:t>
            </a:r>
          </a:p>
          <a:p>
            <a:r>
              <a:rPr lang="en-US" sz="1000" dirty="0" smtClean="0"/>
              <a:t>Test Frameworks</a:t>
            </a:r>
            <a:endParaRPr lang="en-US" sz="1000" dirty="0"/>
          </a:p>
        </p:txBody>
      </p:sp>
      <p:sp>
        <p:nvSpPr>
          <p:cNvPr id="24" name="Rectangle 23"/>
          <p:cNvSpPr/>
          <p:nvPr/>
        </p:nvSpPr>
        <p:spPr>
          <a:xfrm>
            <a:off x="7315501" y="2438226"/>
            <a:ext cx="1966764" cy="11464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ounded Rectangle 24"/>
          <p:cNvSpPr/>
          <p:nvPr/>
        </p:nvSpPr>
        <p:spPr>
          <a:xfrm>
            <a:off x="6018963" y="2438226"/>
            <a:ext cx="1514902" cy="1146412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ore Engineering Services</a:t>
            </a:r>
            <a:endParaRPr lang="en-US" sz="1200" b="1" dirty="0">
              <a:solidFill>
                <a:schemeClr val="tx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7547513" y="2410929"/>
            <a:ext cx="167867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Pattern based CI/CD</a:t>
            </a:r>
          </a:p>
          <a:p>
            <a:r>
              <a:rPr lang="en-US" sz="1000" dirty="0" smtClean="0"/>
              <a:t>Self Service Deployment</a:t>
            </a:r>
          </a:p>
          <a:p>
            <a:r>
              <a:rPr lang="en-US" sz="1000" dirty="0" smtClean="0"/>
              <a:t>Build Automation</a:t>
            </a:r>
          </a:p>
          <a:p>
            <a:r>
              <a:rPr lang="en-US" sz="1000" dirty="0" smtClean="0"/>
              <a:t>One Click Deployment</a:t>
            </a:r>
          </a:p>
          <a:p>
            <a:r>
              <a:rPr lang="en-US" sz="1000" dirty="0" smtClean="0"/>
              <a:t>Lifecycle Dashboard</a:t>
            </a:r>
          </a:p>
          <a:p>
            <a:r>
              <a:rPr lang="en-US" sz="1000" dirty="0" smtClean="0"/>
              <a:t>Branching Strategy</a:t>
            </a:r>
          </a:p>
          <a:p>
            <a:r>
              <a:rPr lang="en-US" sz="1000" dirty="0" smtClean="0"/>
              <a:t>Tool Select/Integration</a:t>
            </a:r>
            <a:endParaRPr lang="en-US" sz="1000" dirty="0"/>
          </a:p>
        </p:txBody>
      </p:sp>
      <p:sp>
        <p:nvSpPr>
          <p:cNvPr id="30" name="Rectangle 29"/>
          <p:cNvSpPr/>
          <p:nvPr/>
        </p:nvSpPr>
        <p:spPr>
          <a:xfrm>
            <a:off x="7329150" y="1052213"/>
            <a:ext cx="1966764" cy="11464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ounded Rectangle 30"/>
          <p:cNvSpPr/>
          <p:nvPr/>
        </p:nvSpPr>
        <p:spPr>
          <a:xfrm>
            <a:off x="6032612" y="1052213"/>
            <a:ext cx="1514902" cy="1146412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dvisory Services</a:t>
            </a:r>
            <a:endParaRPr lang="en-US" sz="1200" b="1" dirty="0">
              <a:solidFill>
                <a:schemeClr val="tx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7561162" y="1120452"/>
            <a:ext cx="167867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DevOps Coaching</a:t>
            </a:r>
          </a:p>
          <a:p>
            <a:r>
              <a:rPr lang="en-US" sz="1000" dirty="0" smtClean="0"/>
              <a:t>Role Based Training</a:t>
            </a:r>
          </a:p>
          <a:p>
            <a:r>
              <a:rPr lang="en-US" sz="1000" dirty="0" smtClean="0"/>
              <a:t>Bootcamps</a:t>
            </a:r>
          </a:p>
          <a:p>
            <a:r>
              <a:rPr lang="en-US" sz="1000" dirty="0" smtClean="0"/>
              <a:t>Cloud Architecture Review</a:t>
            </a:r>
          </a:p>
          <a:p>
            <a:r>
              <a:rPr lang="en-US" sz="1000" dirty="0" smtClean="0"/>
              <a:t>Containerization Strategy</a:t>
            </a:r>
          </a:p>
          <a:p>
            <a:r>
              <a:rPr lang="en-US" sz="1000" dirty="0" smtClean="0"/>
              <a:t>Hosting Strategy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9662064" y="1202822"/>
            <a:ext cx="19546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I/CD Pipeline</a:t>
            </a:r>
            <a:endParaRPr lang="en-US" sz="1200" b="1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52849" y="3214072"/>
            <a:ext cx="1805097" cy="1873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752849" y="5424066"/>
            <a:ext cx="1773072" cy="8996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TextBox 35"/>
          <p:cNvSpPr txBox="1"/>
          <p:nvPr/>
        </p:nvSpPr>
        <p:spPr>
          <a:xfrm>
            <a:off x="9377803" y="5040543"/>
            <a:ext cx="25092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ransparency - Lifecycle Dashboard</a:t>
            </a:r>
            <a:endParaRPr lang="en-US" sz="1200" b="1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341194" y="731742"/>
            <a:ext cx="5172502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evOps is a set of practices and cultural values that help organizations improve their software release cycles, software quality, security, and ability to get </a:t>
            </a:r>
            <a:r>
              <a:rPr lang="en-US" sz="1400" b="1" dirty="0" smtClean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apid feedback </a:t>
            </a:r>
            <a:r>
              <a:rPr lang="en-US" sz="1400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on product development and achieve business outcomes.</a:t>
            </a:r>
          </a:p>
          <a:p>
            <a:pPr algn="ctr"/>
            <a:endParaRPr lang="en-US" sz="1400" b="1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1400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evOps along with Agile practices enable Continuous Delivery</a:t>
            </a:r>
            <a:endParaRPr lang="en-US" sz="1400" b="1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08228" name="Picture 2" descr="image001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554896" y="1547131"/>
            <a:ext cx="2250237" cy="1302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0208531" y="576564"/>
            <a:ext cx="12692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  <a:t>How?</a:t>
            </a:r>
            <a:endParaRPr lang="en-US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7043290" y="539061"/>
            <a:ext cx="12692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  <a:t>Who?</a:t>
            </a:r>
            <a:endParaRPr lang="en-US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386557" y="6020968"/>
            <a:ext cx="12692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  <a:t>Why?</a:t>
            </a:r>
            <a:endParaRPr lang="en-US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17986" y="720563"/>
            <a:ext cx="40062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err="1" smtClean="0">
                <a:solidFill>
                  <a:schemeClr val="accent1">
                    <a:lumMod val="75000"/>
                  </a:schemeClr>
                </a:solidFill>
              </a:rPr>
              <a:t>Wha</a:t>
            </a:r>
            <a:endParaRPr lang="en-US" b="1" dirty="0" smtClean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t</a:t>
            </a:r>
            <a:endParaRPr lang="en-US" b="1" dirty="0" smtClean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  <a:t>?</a:t>
            </a:r>
            <a:endParaRPr lang="en-US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9377802" y="3005313"/>
            <a:ext cx="25092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Operating Model/ CD Behaviors</a:t>
            </a:r>
            <a:endParaRPr lang="en-US" sz="1200" b="1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4463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145282" y="92065"/>
            <a:ext cx="7011796" cy="504967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rgbClr val="F9F9F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he Starting Point: High Level App Delivery Execution Strategy</a:t>
            </a:r>
            <a:endParaRPr lang="en-US" b="1" dirty="0">
              <a:solidFill>
                <a:srgbClr val="F9F9F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2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4623" y="3608931"/>
            <a:ext cx="1006418" cy="171369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9825" y="940809"/>
            <a:ext cx="1013020" cy="184667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4" name="Group 23"/>
          <p:cNvGrpSpPr/>
          <p:nvPr/>
        </p:nvGrpSpPr>
        <p:grpSpPr>
          <a:xfrm>
            <a:off x="1587215" y="1039525"/>
            <a:ext cx="7625025" cy="4283102"/>
            <a:chOff x="672814" y="3012376"/>
            <a:chExt cx="7625025" cy="3182980"/>
          </a:xfrm>
        </p:grpSpPr>
        <p:pic>
          <p:nvPicPr>
            <p:cNvPr id="25" name="Picture 2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2814" y="3012376"/>
              <a:ext cx="6874397" cy="3182980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6" name="Rounded Rectangle 25"/>
            <p:cNvSpPr/>
            <p:nvPr/>
          </p:nvSpPr>
          <p:spPr>
            <a:xfrm>
              <a:off x="7547211" y="3012376"/>
              <a:ext cx="750628" cy="3182980"/>
            </a:xfrm>
            <a:prstGeom prst="roundRect">
              <a:avLst/>
            </a:prstGeom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r>
                <a:rPr lang="en-US" sz="1400" b="1" dirty="0" smtClean="0">
                  <a:solidFill>
                    <a:srgbClr val="AABCD3">
                      <a:lumMod val="20000"/>
                      <a:lumOff val="80000"/>
                    </a:srgb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CONTINUOUS DELIVERY PIPELINE</a:t>
              </a:r>
              <a:endParaRPr lang="en-US" sz="1400" b="1" dirty="0">
                <a:solidFill>
                  <a:srgbClr val="AABCD3">
                    <a:lumMod val="20000"/>
                    <a:lumOff val="80000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27" name="Half Frame 26"/>
          <p:cNvSpPr/>
          <p:nvPr/>
        </p:nvSpPr>
        <p:spPr>
          <a:xfrm>
            <a:off x="313898" y="1103205"/>
            <a:ext cx="341194" cy="966661"/>
          </a:xfrm>
          <a:prstGeom prst="halfFram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43551" y="1310150"/>
            <a:ext cx="12078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>
                <a:solidFill>
                  <a:srgbClr val="0073AE">
                    <a:lumMod val="75000"/>
                  </a:srgbClr>
                </a:solidFill>
              </a:rPr>
              <a:t>CYBER PORTAL</a:t>
            </a:r>
          </a:p>
          <a:p>
            <a:r>
              <a:rPr lang="en-US" sz="1000" b="1" dirty="0" smtClean="0">
                <a:solidFill>
                  <a:srgbClr val="0073AE">
                    <a:lumMod val="75000"/>
                  </a:srgbClr>
                </a:solidFill>
              </a:rPr>
              <a:t>FNOL</a:t>
            </a:r>
            <a:endParaRPr lang="en-US" sz="1000" b="1" dirty="0">
              <a:solidFill>
                <a:srgbClr val="0073AE">
                  <a:lumMod val="75000"/>
                </a:srgbClr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0454773" y="4311890"/>
            <a:ext cx="17258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FF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ODE 1</a:t>
            </a:r>
            <a:endParaRPr lang="en-US" sz="1400" b="1" dirty="0">
              <a:solidFill>
                <a:srgbClr val="FF00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454773" y="1771143"/>
            <a:ext cx="17258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00A4E4">
                    <a:lumMod val="75000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ODE 2 </a:t>
            </a:r>
            <a:endParaRPr lang="en-US" sz="1400" b="1" dirty="0">
              <a:solidFill>
                <a:srgbClr val="00A4E4">
                  <a:lumMod val="75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272953" y="5554635"/>
            <a:ext cx="113412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00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he solution will be to automate the entire lifecycle within the pipeline including App Delivery, Tech. Operations, Controls &amp; Infrastructure</a:t>
            </a:r>
          </a:p>
        </p:txBody>
      </p:sp>
      <p:sp>
        <p:nvSpPr>
          <p:cNvPr id="34" name="Rectangle 33"/>
          <p:cNvSpPr/>
          <p:nvPr/>
        </p:nvSpPr>
        <p:spPr>
          <a:xfrm>
            <a:off x="2306471" y="6086903"/>
            <a:ext cx="1774209" cy="341194"/>
          </a:xfrm>
          <a:prstGeom prst="rect">
            <a:avLst/>
          </a:prstGeom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rgbClr val="FFFFFF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GILE</a:t>
            </a:r>
            <a:endParaRPr lang="en-US" sz="1600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4121624" y="6086903"/>
            <a:ext cx="2456597" cy="341194"/>
          </a:xfrm>
          <a:prstGeom prst="rect">
            <a:avLst/>
          </a:prstGeom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rgbClr val="FFFFFF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I/CD PIPELINE</a:t>
            </a:r>
            <a:endParaRPr lang="en-US" sz="1600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6605520" y="6086903"/>
            <a:ext cx="1637732" cy="341194"/>
          </a:xfrm>
          <a:prstGeom prst="rect">
            <a:avLst/>
          </a:prstGeom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rgbClr val="FFFFFF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AAS/ CLOUD</a:t>
            </a:r>
            <a:endParaRPr lang="en-US" sz="1600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7" name="Half Frame 36"/>
          <p:cNvSpPr/>
          <p:nvPr/>
        </p:nvSpPr>
        <p:spPr>
          <a:xfrm rot="5400000">
            <a:off x="9666637" y="6128428"/>
            <a:ext cx="341195" cy="258143"/>
          </a:xfrm>
          <a:prstGeom prst="halfFram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8160511" y="6136292"/>
            <a:ext cx="172582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 smtClean="0">
                <a:solidFill>
                  <a:srgbClr val="00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ODE 2 ENABLERS</a:t>
            </a:r>
            <a:endParaRPr lang="en-US" sz="1100" b="1" dirty="0">
              <a:solidFill>
                <a:srgbClr val="0000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053384" y="6428097"/>
            <a:ext cx="264766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smtClean="0">
                <a:solidFill>
                  <a:srgbClr val="000000"/>
                </a:solidFill>
              </a:rPr>
              <a:t>TEST AUTOMATION | OPERATIONS AUTOMATION</a:t>
            </a:r>
            <a:endParaRPr lang="en-US" sz="800" b="1" dirty="0">
              <a:solidFill>
                <a:srgbClr val="000000"/>
              </a:solidFill>
            </a:endParaRPr>
          </a:p>
        </p:txBody>
      </p:sp>
      <p:sp>
        <p:nvSpPr>
          <p:cNvPr id="41" name="Half Frame 40"/>
          <p:cNvSpPr/>
          <p:nvPr/>
        </p:nvSpPr>
        <p:spPr>
          <a:xfrm rot="10800000">
            <a:off x="986050" y="4136336"/>
            <a:ext cx="341194" cy="966661"/>
          </a:xfrm>
          <a:prstGeom prst="halfFram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74011" y="4551801"/>
            <a:ext cx="110887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>
                <a:solidFill>
                  <a:srgbClr val="0073AE">
                    <a:lumMod val="75000"/>
                  </a:srgbClr>
                </a:solidFill>
              </a:rPr>
              <a:t>UW INSIGHT</a:t>
            </a:r>
          </a:p>
          <a:p>
            <a:r>
              <a:rPr lang="en-US" sz="1000" b="1" dirty="0" smtClean="0">
                <a:solidFill>
                  <a:srgbClr val="0073AE">
                    <a:lumMod val="75000"/>
                  </a:srgbClr>
                </a:solidFill>
              </a:rPr>
              <a:t>MN XPRESS</a:t>
            </a:r>
          </a:p>
        </p:txBody>
      </p:sp>
    </p:spTree>
    <p:extLst>
      <p:ext uri="{BB962C8B-B14F-4D97-AF65-F5344CB8AC3E}">
        <p14:creationId xmlns:p14="http://schemas.microsoft.com/office/powerpoint/2010/main" val="3415574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969" y="873459"/>
            <a:ext cx="10840127" cy="52543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ounded Rectangular Callout 6"/>
          <p:cNvSpPr/>
          <p:nvPr/>
        </p:nvSpPr>
        <p:spPr>
          <a:xfrm>
            <a:off x="2219458" y="873458"/>
            <a:ext cx="1291653" cy="341193"/>
          </a:xfrm>
          <a:prstGeom prst="wedgeRoundRectCallout">
            <a:avLst>
              <a:gd name="adj1" fmla="val -25878"/>
              <a:gd name="adj2" fmla="val 90500"/>
              <a:gd name="adj3" fmla="val 16667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Work Item Management</a:t>
            </a:r>
            <a:endParaRPr lang="en-US" sz="800" dirty="0">
              <a:solidFill>
                <a:schemeClr val="tx1">
                  <a:lumMod val="85000"/>
                  <a:lumOff val="15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Rounded Rectangular Callout 7"/>
          <p:cNvSpPr/>
          <p:nvPr/>
        </p:nvSpPr>
        <p:spPr>
          <a:xfrm>
            <a:off x="66142" y="2606727"/>
            <a:ext cx="1291653" cy="341193"/>
          </a:xfrm>
          <a:prstGeom prst="wedgeRoundRectCallout">
            <a:avLst>
              <a:gd name="adj1" fmla="val 27643"/>
              <a:gd name="adj2" fmla="val 86500"/>
              <a:gd name="adj3" fmla="val 16667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ource Code Management</a:t>
            </a:r>
            <a:endParaRPr lang="en-US" sz="800" dirty="0">
              <a:solidFill>
                <a:schemeClr val="tx1">
                  <a:lumMod val="85000"/>
                  <a:lumOff val="15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Rounded Rectangular Callout 8"/>
          <p:cNvSpPr/>
          <p:nvPr/>
        </p:nvSpPr>
        <p:spPr>
          <a:xfrm>
            <a:off x="2865285" y="2606727"/>
            <a:ext cx="1291653" cy="341193"/>
          </a:xfrm>
          <a:prstGeom prst="wedgeRoundRectCallout">
            <a:avLst>
              <a:gd name="adj1" fmla="val 27643"/>
              <a:gd name="adj2" fmla="val 86500"/>
              <a:gd name="adj3" fmla="val 16667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Orchestration</a:t>
            </a:r>
            <a:endParaRPr lang="en-US" sz="800" dirty="0">
              <a:solidFill>
                <a:schemeClr val="tx1">
                  <a:lumMod val="85000"/>
                  <a:lumOff val="15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Rounded Rectangular Callout 9"/>
          <p:cNvSpPr/>
          <p:nvPr/>
        </p:nvSpPr>
        <p:spPr>
          <a:xfrm>
            <a:off x="4840376" y="873458"/>
            <a:ext cx="1291653" cy="341193"/>
          </a:xfrm>
          <a:prstGeom prst="wedgeRoundRectCallout">
            <a:avLst>
              <a:gd name="adj1" fmla="val -41371"/>
              <a:gd name="adj2" fmla="val 94500"/>
              <a:gd name="adj3" fmla="val 16667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tatic and Unit Testing</a:t>
            </a:r>
            <a:endParaRPr lang="en-US" sz="800" dirty="0">
              <a:solidFill>
                <a:schemeClr val="tx1">
                  <a:lumMod val="85000"/>
                  <a:lumOff val="15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Rounded Rectangular Callout 10"/>
          <p:cNvSpPr/>
          <p:nvPr/>
        </p:nvSpPr>
        <p:spPr>
          <a:xfrm>
            <a:off x="6332143" y="1044057"/>
            <a:ext cx="1291653" cy="341193"/>
          </a:xfrm>
          <a:prstGeom prst="wedgeRoundRectCallout">
            <a:avLst>
              <a:gd name="adj1" fmla="val -41371"/>
              <a:gd name="adj2" fmla="val 94500"/>
              <a:gd name="adj3" fmla="val 16667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ecurity Testing</a:t>
            </a:r>
            <a:endParaRPr lang="en-US" sz="800" dirty="0">
              <a:solidFill>
                <a:schemeClr val="tx1">
                  <a:lumMod val="85000"/>
                  <a:lumOff val="15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Rounded Rectangular Callout 11"/>
          <p:cNvSpPr/>
          <p:nvPr/>
        </p:nvSpPr>
        <p:spPr>
          <a:xfrm>
            <a:off x="2865285" y="5288508"/>
            <a:ext cx="1291653" cy="341193"/>
          </a:xfrm>
          <a:prstGeom prst="wedgeRoundRectCallout">
            <a:avLst>
              <a:gd name="adj1" fmla="val 44544"/>
              <a:gd name="adj2" fmla="val 78500"/>
              <a:gd name="adj3" fmla="val 16667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Build Automation</a:t>
            </a:r>
            <a:endParaRPr lang="en-US" sz="800" dirty="0">
              <a:solidFill>
                <a:schemeClr val="tx1">
                  <a:lumMod val="85000"/>
                  <a:lumOff val="15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Rounded Rectangular Callout 12"/>
          <p:cNvSpPr/>
          <p:nvPr/>
        </p:nvSpPr>
        <p:spPr>
          <a:xfrm>
            <a:off x="7623796" y="2354242"/>
            <a:ext cx="1291653" cy="341193"/>
          </a:xfrm>
          <a:prstGeom prst="wedgeRoundRectCallout">
            <a:avLst>
              <a:gd name="adj1" fmla="val -41371"/>
              <a:gd name="adj2" fmla="val 94500"/>
              <a:gd name="adj3" fmla="val 16667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Build Management</a:t>
            </a:r>
            <a:endParaRPr lang="en-US" sz="800" dirty="0">
              <a:solidFill>
                <a:schemeClr val="tx1">
                  <a:lumMod val="85000"/>
                  <a:lumOff val="15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Rounded Rectangular Callout 13"/>
          <p:cNvSpPr/>
          <p:nvPr/>
        </p:nvSpPr>
        <p:spPr>
          <a:xfrm>
            <a:off x="9843254" y="4728952"/>
            <a:ext cx="1291653" cy="341193"/>
          </a:xfrm>
          <a:prstGeom prst="wedgeRoundRectCallout">
            <a:avLst>
              <a:gd name="adj1" fmla="val -66723"/>
              <a:gd name="adj2" fmla="val 34500"/>
              <a:gd name="adj3" fmla="val 16667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lease Automation</a:t>
            </a:r>
            <a:endParaRPr lang="en-US" sz="800" dirty="0">
              <a:solidFill>
                <a:schemeClr val="tx1">
                  <a:lumMod val="85000"/>
                  <a:lumOff val="15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Rounded Rectangular Callout 14"/>
          <p:cNvSpPr/>
          <p:nvPr/>
        </p:nvSpPr>
        <p:spPr>
          <a:xfrm>
            <a:off x="10715250" y="2709082"/>
            <a:ext cx="1291653" cy="341193"/>
          </a:xfrm>
          <a:prstGeom prst="wedgeRoundRectCallout">
            <a:avLst>
              <a:gd name="adj1" fmla="val -35737"/>
              <a:gd name="adj2" fmla="val 102500"/>
              <a:gd name="adj3" fmla="val 16667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nvironment Management</a:t>
            </a:r>
            <a:endParaRPr lang="en-US" sz="800" dirty="0">
              <a:solidFill>
                <a:schemeClr val="tx1">
                  <a:lumMod val="85000"/>
                  <a:lumOff val="15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Rounded Rectangular Callout 15"/>
          <p:cNvSpPr/>
          <p:nvPr/>
        </p:nvSpPr>
        <p:spPr>
          <a:xfrm>
            <a:off x="8269621" y="586860"/>
            <a:ext cx="1291653" cy="341193"/>
          </a:xfrm>
          <a:prstGeom prst="wedgeRoundRectCallout">
            <a:avLst>
              <a:gd name="adj1" fmla="val 43136"/>
              <a:gd name="adj2" fmla="val 94500"/>
              <a:gd name="adj3" fmla="val 16667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ontinuous Testing</a:t>
            </a:r>
            <a:endParaRPr lang="en-US" sz="900" dirty="0">
              <a:solidFill>
                <a:schemeClr val="tx1">
                  <a:lumMod val="85000"/>
                  <a:lumOff val="15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227405" y="3490415"/>
            <a:ext cx="345653" cy="95875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600" dirty="0" smtClean="0">
                <a:solidFill>
                  <a:srgbClr val="FFFFFF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I</a:t>
            </a:r>
            <a:endParaRPr lang="en-US" sz="1600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1757143" y="3490415"/>
            <a:ext cx="345653" cy="95875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600" dirty="0" smtClean="0">
                <a:solidFill>
                  <a:srgbClr val="FFFFFF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D</a:t>
            </a:r>
            <a:endParaRPr lang="en-US" sz="1600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281759" y="92064"/>
            <a:ext cx="7011796" cy="504967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rgbClr val="F9F9F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Building the CI/CD Pipeline : Skeletal Version</a:t>
            </a:r>
            <a:endParaRPr lang="en-US" b="1" dirty="0">
              <a:solidFill>
                <a:srgbClr val="F9F9F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1376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281759" y="92064"/>
            <a:ext cx="4445084" cy="504967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rgbClr val="F9F9F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ransparency: Lifecycle Dashboard</a:t>
            </a:r>
            <a:endParaRPr lang="en-US" b="1" dirty="0">
              <a:solidFill>
                <a:srgbClr val="F9F9F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490" y="696037"/>
            <a:ext cx="11167277" cy="59447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56024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281759" y="92064"/>
            <a:ext cx="5504892" cy="504967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rgbClr val="F9F9F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pplications/Programs Onboarded to CI/CD</a:t>
            </a:r>
            <a:endParaRPr lang="en-US" b="1" dirty="0">
              <a:solidFill>
                <a:srgbClr val="F9F9F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464023" y="668744"/>
            <a:ext cx="11204812" cy="3248169"/>
          </a:xfrm>
          <a:prstGeom prst="rect">
            <a:avLst/>
          </a:prstGeom>
          <a:solidFill>
            <a:srgbClr val="00A4E4">
              <a:lumMod val="40000"/>
              <a:lumOff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545909" y="1398891"/>
            <a:ext cx="2156341" cy="648269"/>
          </a:xfrm>
          <a:prstGeom prst="rect">
            <a:avLst/>
          </a:prstGeom>
          <a:solidFill>
            <a:srgbClr val="00A4E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perty</a:t>
            </a:r>
          </a:p>
        </p:txBody>
      </p:sp>
      <p:sp>
        <p:nvSpPr>
          <p:cNvPr id="36" name="Rectangle 35"/>
          <p:cNvSpPr/>
          <p:nvPr/>
        </p:nvSpPr>
        <p:spPr>
          <a:xfrm>
            <a:off x="545909" y="2019865"/>
            <a:ext cx="2156341" cy="45038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-boarded: 11</a:t>
            </a:r>
          </a:p>
        </p:txBody>
      </p:sp>
      <p:sp>
        <p:nvSpPr>
          <p:cNvPr id="37" name="Rectangle 36"/>
          <p:cNvSpPr/>
          <p:nvPr/>
        </p:nvSpPr>
        <p:spPr>
          <a:xfrm>
            <a:off x="2786453" y="1387515"/>
            <a:ext cx="2156341" cy="648269"/>
          </a:xfrm>
          <a:prstGeom prst="rect">
            <a:avLst/>
          </a:prstGeom>
          <a:solidFill>
            <a:srgbClr val="00A4E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ulti-National</a:t>
            </a:r>
          </a:p>
        </p:txBody>
      </p:sp>
      <p:sp>
        <p:nvSpPr>
          <p:cNvPr id="38" name="Rectangle 37"/>
          <p:cNvSpPr/>
          <p:nvPr/>
        </p:nvSpPr>
        <p:spPr>
          <a:xfrm>
            <a:off x="2786453" y="2008489"/>
            <a:ext cx="2156341" cy="45038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-boarded: 4</a:t>
            </a:r>
          </a:p>
        </p:txBody>
      </p:sp>
      <p:sp>
        <p:nvSpPr>
          <p:cNvPr id="39" name="Rectangle 38"/>
          <p:cNvSpPr/>
          <p:nvPr/>
        </p:nvSpPr>
        <p:spPr>
          <a:xfrm>
            <a:off x="5013349" y="1389787"/>
            <a:ext cx="2156341" cy="648269"/>
          </a:xfrm>
          <a:prstGeom prst="rect">
            <a:avLst/>
          </a:prstGeom>
          <a:solidFill>
            <a:srgbClr val="00A4E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nancial Lines</a:t>
            </a:r>
          </a:p>
        </p:txBody>
      </p:sp>
      <p:sp>
        <p:nvSpPr>
          <p:cNvPr id="40" name="Rectangle 39"/>
          <p:cNvSpPr/>
          <p:nvPr/>
        </p:nvSpPr>
        <p:spPr>
          <a:xfrm>
            <a:off x="5013349" y="2010761"/>
            <a:ext cx="2156341" cy="45038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-boarded: 2</a:t>
            </a:r>
          </a:p>
        </p:txBody>
      </p:sp>
      <p:sp>
        <p:nvSpPr>
          <p:cNvPr id="41" name="Rectangle 40"/>
          <p:cNvSpPr/>
          <p:nvPr/>
        </p:nvSpPr>
        <p:spPr>
          <a:xfrm>
            <a:off x="7226597" y="1392059"/>
            <a:ext cx="2156341" cy="648269"/>
          </a:xfrm>
          <a:prstGeom prst="rect">
            <a:avLst/>
          </a:prstGeom>
          <a:solidFill>
            <a:srgbClr val="00A4E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MEA</a:t>
            </a:r>
          </a:p>
        </p:txBody>
      </p:sp>
      <p:sp>
        <p:nvSpPr>
          <p:cNvPr id="42" name="Rectangle 41"/>
          <p:cNvSpPr/>
          <p:nvPr/>
        </p:nvSpPr>
        <p:spPr>
          <a:xfrm>
            <a:off x="7226597" y="2013033"/>
            <a:ext cx="2156341" cy="45038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-boarded: 2</a:t>
            </a:r>
          </a:p>
        </p:txBody>
      </p:sp>
      <p:sp>
        <p:nvSpPr>
          <p:cNvPr id="43" name="Rectangle 42"/>
          <p:cNvSpPr/>
          <p:nvPr/>
        </p:nvSpPr>
        <p:spPr>
          <a:xfrm>
            <a:off x="9453493" y="1394331"/>
            <a:ext cx="2156341" cy="648269"/>
          </a:xfrm>
          <a:prstGeom prst="rect">
            <a:avLst/>
          </a:prstGeom>
          <a:solidFill>
            <a:srgbClr val="00A4E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TAM</a:t>
            </a:r>
          </a:p>
        </p:txBody>
      </p:sp>
      <p:sp>
        <p:nvSpPr>
          <p:cNvPr id="44" name="Rectangle 43"/>
          <p:cNvSpPr/>
          <p:nvPr/>
        </p:nvSpPr>
        <p:spPr>
          <a:xfrm>
            <a:off x="9453493" y="2015305"/>
            <a:ext cx="2156341" cy="45038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-Progress</a:t>
            </a:r>
          </a:p>
        </p:txBody>
      </p:sp>
      <p:sp>
        <p:nvSpPr>
          <p:cNvPr id="45" name="Rectangle 44"/>
          <p:cNvSpPr/>
          <p:nvPr/>
        </p:nvSpPr>
        <p:spPr>
          <a:xfrm>
            <a:off x="4996311" y="2643131"/>
            <a:ext cx="2156341" cy="648269"/>
          </a:xfrm>
          <a:prstGeom prst="rect">
            <a:avLst/>
          </a:prstGeom>
          <a:solidFill>
            <a:srgbClr val="00A4E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I/UX</a:t>
            </a:r>
          </a:p>
        </p:txBody>
      </p:sp>
      <p:sp>
        <p:nvSpPr>
          <p:cNvPr id="46" name="Rectangle 45"/>
          <p:cNvSpPr/>
          <p:nvPr/>
        </p:nvSpPr>
        <p:spPr>
          <a:xfrm>
            <a:off x="4996311" y="3264105"/>
            <a:ext cx="2156341" cy="45038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-boarded: 1	</a:t>
            </a:r>
          </a:p>
        </p:txBody>
      </p:sp>
      <p:sp>
        <p:nvSpPr>
          <p:cNvPr id="47" name="Rectangle 46"/>
          <p:cNvSpPr/>
          <p:nvPr/>
        </p:nvSpPr>
        <p:spPr>
          <a:xfrm>
            <a:off x="7236855" y="2645403"/>
            <a:ext cx="2156341" cy="648269"/>
          </a:xfrm>
          <a:prstGeom prst="rect">
            <a:avLst/>
          </a:prstGeom>
          <a:solidFill>
            <a:srgbClr val="00A4E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mon Services</a:t>
            </a:r>
          </a:p>
        </p:txBody>
      </p:sp>
      <p:sp>
        <p:nvSpPr>
          <p:cNvPr id="48" name="Rectangle 47"/>
          <p:cNvSpPr/>
          <p:nvPr/>
        </p:nvSpPr>
        <p:spPr>
          <a:xfrm>
            <a:off x="7236855" y="3266377"/>
            <a:ext cx="2156341" cy="45038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-boarded: 79 </a:t>
            </a:r>
          </a:p>
        </p:txBody>
      </p:sp>
      <p:sp>
        <p:nvSpPr>
          <p:cNvPr id="49" name="Rectangle 48"/>
          <p:cNvSpPr/>
          <p:nvPr/>
        </p:nvSpPr>
        <p:spPr>
          <a:xfrm>
            <a:off x="9450103" y="2634027"/>
            <a:ext cx="2156341" cy="648269"/>
          </a:xfrm>
          <a:prstGeom prst="rect">
            <a:avLst/>
          </a:prstGeom>
          <a:solidFill>
            <a:srgbClr val="00A4E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Services</a:t>
            </a:r>
          </a:p>
        </p:txBody>
      </p:sp>
      <p:sp>
        <p:nvSpPr>
          <p:cNvPr id="50" name="Rectangle 49"/>
          <p:cNvSpPr/>
          <p:nvPr/>
        </p:nvSpPr>
        <p:spPr>
          <a:xfrm>
            <a:off x="9450103" y="3255001"/>
            <a:ext cx="2156341" cy="45038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-boarded: 4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3316402" y="846165"/>
            <a:ext cx="6291618" cy="369332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CI/CD Pipelines Onboarding</a:t>
            </a:r>
          </a:p>
        </p:txBody>
      </p:sp>
      <p:sp>
        <p:nvSpPr>
          <p:cNvPr id="52" name="Rectangle 51"/>
          <p:cNvSpPr/>
          <p:nvPr/>
        </p:nvSpPr>
        <p:spPr>
          <a:xfrm>
            <a:off x="464023" y="4012448"/>
            <a:ext cx="11204812" cy="2429301"/>
          </a:xfrm>
          <a:prstGeom prst="rect">
            <a:avLst/>
          </a:prstGeom>
          <a:solidFill>
            <a:srgbClr val="B8E08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3318674" y="4178549"/>
            <a:ext cx="6291618" cy="369332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TECHNOLOGIES SUPPORTED</a:t>
            </a:r>
          </a:p>
        </p:txBody>
      </p:sp>
      <p:cxnSp>
        <p:nvCxnSpPr>
          <p:cNvPr id="54" name="Straight Connector 53"/>
          <p:cNvCxnSpPr/>
          <p:nvPr/>
        </p:nvCxnSpPr>
        <p:spPr>
          <a:xfrm>
            <a:off x="3985152" y="4902478"/>
            <a:ext cx="0" cy="1473955"/>
          </a:xfrm>
          <a:prstGeom prst="line">
            <a:avLst/>
          </a:prstGeom>
          <a:noFill/>
          <a:ln w="6350" cap="flat" cmpd="sng" algn="ctr">
            <a:solidFill>
              <a:srgbClr val="00A4E4"/>
            </a:solidFill>
            <a:prstDash val="solid"/>
            <a:miter lim="800000"/>
          </a:ln>
          <a:effectLst/>
        </p:spPr>
      </p:cxnSp>
      <p:cxnSp>
        <p:nvCxnSpPr>
          <p:cNvPr id="55" name="Straight Connector 54"/>
          <p:cNvCxnSpPr/>
          <p:nvPr/>
        </p:nvCxnSpPr>
        <p:spPr>
          <a:xfrm>
            <a:off x="8027158" y="4882491"/>
            <a:ext cx="0" cy="1483056"/>
          </a:xfrm>
          <a:prstGeom prst="line">
            <a:avLst/>
          </a:prstGeom>
          <a:noFill/>
          <a:ln w="6350" cap="flat" cmpd="sng" algn="ctr">
            <a:solidFill>
              <a:srgbClr val="00A4E4"/>
            </a:solidFill>
            <a:prstDash val="solid"/>
            <a:miter lim="800000"/>
          </a:ln>
          <a:effectLst/>
        </p:spPr>
      </p:cxnSp>
      <p:sp>
        <p:nvSpPr>
          <p:cNvPr id="56" name="Rounded Rectangle 55"/>
          <p:cNvSpPr/>
          <p:nvPr/>
        </p:nvSpPr>
        <p:spPr>
          <a:xfrm>
            <a:off x="2197292" y="6387153"/>
            <a:ext cx="7028597" cy="423081"/>
          </a:xfrm>
          <a:prstGeom prst="roundRect">
            <a:avLst/>
          </a:prstGeom>
          <a:solidFill>
            <a:srgbClr val="FDDF9D">
              <a:lumMod val="9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pporting 100% Greenfield and ~90% Strategic Applications</a:t>
            </a:r>
          </a:p>
        </p:txBody>
      </p:sp>
      <p:sp>
        <p:nvSpPr>
          <p:cNvPr id="57" name="Rectangle 56"/>
          <p:cNvSpPr/>
          <p:nvPr/>
        </p:nvSpPr>
        <p:spPr>
          <a:xfrm>
            <a:off x="2775563" y="2654013"/>
            <a:ext cx="2156341" cy="648269"/>
          </a:xfrm>
          <a:prstGeom prst="rect">
            <a:avLst/>
          </a:prstGeom>
          <a:solidFill>
            <a:srgbClr val="00A4E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aims</a:t>
            </a:r>
          </a:p>
        </p:txBody>
      </p:sp>
      <p:sp>
        <p:nvSpPr>
          <p:cNvPr id="58" name="Rectangle 57"/>
          <p:cNvSpPr/>
          <p:nvPr/>
        </p:nvSpPr>
        <p:spPr>
          <a:xfrm>
            <a:off x="2775563" y="3274987"/>
            <a:ext cx="2156341" cy="45038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-boarded: 8</a:t>
            </a:r>
          </a:p>
        </p:txBody>
      </p:sp>
      <p:sp>
        <p:nvSpPr>
          <p:cNvPr id="59" name="Rectangle 58"/>
          <p:cNvSpPr/>
          <p:nvPr/>
        </p:nvSpPr>
        <p:spPr>
          <a:xfrm>
            <a:off x="522157" y="2654009"/>
            <a:ext cx="2156341" cy="648269"/>
          </a:xfrm>
          <a:prstGeom prst="rect">
            <a:avLst/>
          </a:prstGeom>
          <a:solidFill>
            <a:srgbClr val="00A4E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sualty</a:t>
            </a:r>
          </a:p>
        </p:txBody>
      </p:sp>
      <p:sp>
        <p:nvSpPr>
          <p:cNvPr id="60" name="Rectangle 59"/>
          <p:cNvSpPr/>
          <p:nvPr/>
        </p:nvSpPr>
        <p:spPr>
          <a:xfrm>
            <a:off x="522157" y="3274983"/>
            <a:ext cx="2156341" cy="45038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-boarded: 3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653143" y="4782732"/>
            <a:ext cx="3200590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Angular JS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.Net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 Framework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Java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Pega</a:t>
            </a: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Duckcreek</a:t>
            </a: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Abinitio</a:t>
            </a: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Microstratergy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*	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4354300" y="4773631"/>
            <a:ext cx="3200590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Mulesoft</a:t>
            </a: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Netezza</a:t>
            </a: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Hadoop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Datastage</a:t>
            </a: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DDL/DML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SSIS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Qlikview</a:t>
            </a: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8304767" y="4762907"/>
            <a:ext cx="3200590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Autosys</a:t>
            </a: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Unity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Docker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Blockchain</a:t>
            </a: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AWS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Qliksense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*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189702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281759" y="92064"/>
            <a:ext cx="5504892" cy="504967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rgbClr val="F9F9F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Key Statistics</a:t>
            </a:r>
            <a:endParaRPr lang="en-US" b="1" dirty="0">
              <a:solidFill>
                <a:srgbClr val="F9F9F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48" name="Group 147"/>
          <p:cNvGrpSpPr/>
          <p:nvPr/>
        </p:nvGrpSpPr>
        <p:grpSpPr>
          <a:xfrm>
            <a:off x="106343" y="1228302"/>
            <a:ext cx="2309318" cy="4162585"/>
            <a:chOff x="51751" y="218350"/>
            <a:chExt cx="2309318" cy="4162585"/>
          </a:xfrm>
        </p:grpSpPr>
        <p:sp>
          <p:nvSpPr>
            <p:cNvPr id="149" name="Diamond 148"/>
            <p:cNvSpPr/>
            <p:nvPr/>
          </p:nvSpPr>
          <p:spPr>
            <a:xfrm>
              <a:off x="586858" y="1733254"/>
              <a:ext cx="1214651" cy="1255594"/>
            </a:xfrm>
            <a:prstGeom prst="diamond">
              <a:avLst/>
            </a:prstGeom>
            <a:solidFill>
              <a:srgbClr val="00A4E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50" name="Straight Connector 149"/>
            <p:cNvCxnSpPr/>
            <p:nvPr/>
          </p:nvCxnSpPr>
          <p:spPr>
            <a:xfrm>
              <a:off x="1180535" y="218350"/>
              <a:ext cx="0" cy="4148918"/>
            </a:xfrm>
            <a:prstGeom prst="line">
              <a:avLst/>
            </a:prstGeom>
            <a:noFill/>
            <a:ln w="6350" cap="flat" cmpd="sng" algn="ctr">
              <a:solidFill>
                <a:srgbClr val="00A4E4"/>
              </a:solidFill>
              <a:prstDash val="solid"/>
              <a:miter lim="800000"/>
            </a:ln>
            <a:effectLst/>
          </p:spPr>
        </p:cxnSp>
        <p:sp>
          <p:nvSpPr>
            <p:cNvPr id="151" name="Pentagon 150"/>
            <p:cNvSpPr/>
            <p:nvPr/>
          </p:nvSpPr>
          <p:spPr>
            <a:xfrm>
              <a:off x="1194186" y="3971504"/>
              <a:ext cx="1166883" cy="409431"/>
            </a:xfrm>
            <a:prstGeom prst="homePlate">
              <a:avLst/>
            </a:prstGeom>
            <a:solidFill>
              <a:srgbClr val="BDD19D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017/18</a:t>
              </a:r>
            </a:p>
          </p:txBody>
        </p:sp>
        <p:sp>
          <p:nvSpPr>
            <p:cNvPr id="152" name="Pentagon 151"/>
            <p:cNvSpPr/>
            <p:nvPr/>
          </p:nvSpPr>
          <p:spPr>
            <a:xfrm flipH="1">
              <a:off x="51751" y="218350"/>
              <a:ext cx="1142432" cy="409431"/>
            </a:xfrm>
            <a:prstGeom prst="homePlate">
              <a:avLst/>
            </a:prstGeom>
            <a:solidFill>
              <a:srgbClr val="FFFFFF">
                <a:lumMod val="6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016</a:t>
              </a:r>
            </a:p>
          </p:txBody>
        </p:sp>
      </p:grpSp>
      <p:grpSp>
        <p:nvGrpSpPr>
          <p:cNvPr id="153" name="Group 152"/>
          <p:cNvGrpSpPr/>
          <p:nvPr/>
        </p:nvGrpSpPr>
        <p:grpSpPr>
          <a:xfrm>
            <a:off x="2128519" y="1216926"/>
            <a:ext cx="2309318" cy="4162585"/>
            <a:chOff x="51751" y="218350"/>
            <a:chExt cx="2309318" cy="4162585"/>
          </a:xfrm>
        </p:grpSpPr>
        <p:sp>
          <p:nvSpPr>
            <p:cNvPr id="154" name="Diamond 153"/>
            <p:cNvSpPr/>
            <p:nvPr/>
          </p:nvSpPr>
          <p:spPr>
            <a:xfrm>
              <a:off x="586858" y="1733254"/>
              <a:ext cx="1214651" cy="1255594"/>
            </a:xfrm>
            <a:prstGeom prst="diamond">
              <a:avLst/>
            </a:prstGeom>
            <a:solidFill>
              <a:srgbClr val="00A4E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55" name="Straight Connector 154"/>
            <p:cNvCxnSpPr/>
            <p:nvPr/>
          </p:nvCxnSpPr>
          <p:spPr>
            <a:xfrm>
              <a:off x="1180535" y="218350"/>
              <a:ext cx="0" cy="4148918"/>
            </a:xfrm>
            <a:prstGeom prst="line">
              <a:avLst/>
            </a:prstGeom>
            <a:noFill/>
            <a:ln w="6350" cap="flat" cmpd="sng" algn="ctr">
              <a:solidFill>
                <a:srgbClr val="00A4E4"/>
              </a:solidFill>
              <a:prstDash val="solid"/>
              <a:miter lim="800000"/>
            </a:ln>
            <a:effectLst/>
          </p:spPr>
        </p:cxnSp>
        <p:sp>
          <p:nvSpPr>
            <p:cNvPr id="156" name="Pentagon 155"/>
            <p:cNvSpPr/>
            <p:nvPr/>
          </p:nvSpPr>
          <p:spPr>
            <a:xfrm>
              <a:off x="1194186" y="3971504"/>
              <a:ext cx="1166883" cy="409431"/>
            </a:xfrm>
            <a:prstGeom prst="homePlate">
              <a:avLst/>
            </a:prstGeom>
            <a:solidFill>
              <a:srgbClr val="BDD19D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017/18</a:t>
              </a:r>
            </a:p>
          </p:txBody>
        </p:sp>
        <p:sp>
          <p:nvSpPr>
            <p:cNvPr id="157" name="Pentagon 156"/>
            <p:cNvSpPr/>
            <p:nvPr/>
          </p:nvSpPr>
          <p:spPr>
            <a:xfrm flipH="1">
              <a:off x="51751" y="218350"/>
              <a:ext cx="1142432" cy="409431"/>
            </a:xfrm>
            <a:prstGeom prst="homePlate">
              <a:avLst/>
            </a:prstGeom>
            <a:solidFill>
              <a:srgbClr val="FFFFFF">
                <a:lumMod val="6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016</a:t>
              </a:r>
            </a:p>
          </p:txBody>
        </p:sp>
      </p:grpSp>
      <p:grpSp>
        <p:nvGrpSpPr>
          <p:cNvPr id="158" name="Group 157"/>
          <p:cNvGrpSpPr/>
          <p:nvPr/>
        </p:nvGrpSpPr>
        <p:grpSpPr>
          <a:xfrm>
            <a:off x="4137047" y="1219198"/>
            <a:ext cx="2309318" cy="4162585"/>
            <a:chOff x="51751" y="218350"/>
            <a:chExt cx="2309318" cy="4162585"/>
          </a:xfrm>
        </p:grpSpPr>
        <p:sp>
          <p:nvSpPr>
            <p:cNvPr id="159" name="Diamond 158"/>
            <p:cNvSpPr/>
            <p:nvPr/>
          </p:nvSpPr>
          <p:spPr>
            <a:xfrm>
              <a:off x="586858" y="1733254"/>
              <a:ext cx="1214651" cy="1255594"/>
            </a:xfrm>
            <a:prstGeom prst="diamond">
              <a:avLst/>
            </a:prstGeom>
            <a:solidFill>
              <a:srgbClr val="00A4E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60" name="Straight Connector 159"/>
            <p:cNvCxnSpPr/>
            <p:nvPr/>
          </p:nvCxnSpPr>
          <p:spPr>
            <a:xfrm>
              <a:off x="1180535" y="218350"/>
              <a:ext cx="0" cy="4148918"/>
            </a:xfrm>
            <a:prstGeom prst="line">
              <a:avLst/>
            </a:prstGeom>
            <a:noFill/>
            <a:ln w="6350" cap="flat" cmpd="sng" algn="ctr">
              <a:solidFill>
                <a:srgbClr val="00A4E4"/>
              </a:solidFill>
              <a:prstDash val="solid"/>
              <a:miter lim="800000"/>
            </a:ln>
            <a:effectLst/>
          </p:spPr>
        </p:cxnSp>
        <p:sp>
          <p:nvSpPr>
            <p:cNvPr id="161" name="Pentagon 160"/>
            <p:cNvSpPr/>
            <p:nvPr/>
          </p:nvSpPr>
          <p:spPr>
            <a:xfrm>
              <a:off x="1194186" y="3971504"/>
              <a:ext cx="1166883" cy="409431"/>
            </a:xfrm>
            <a:prstGeom prst="homePlate">
              <a:avLst/>
            </a:prstGeom>
            <a:solidFill>
              <a:srgbClr val="BDD19D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017/18</a:t>
              </a:r>
            </a:p>
          </p:txBody>
        </p:sp>
        <p:sp>
          <p:nvSpPr>
            <p:cNvPr id="162" name="Pentagon 161"/>
            <p:cNvSpPr/>
            <p:nvPr/>
          </p:nvSpPr>
          <p:spPr>
            <a:xfrm flipH="1">
              <a:off x="51751" y="218350"/>
              <a:ext cx="1142432" cy="409431"/>
            </a:xfrm>
            <a:prstGeom prst="homePlate">
              <a:avLst/>
            </a:prstGeom>
            <a:solidFill>
              <a:srgbClr val="FFFFFF">
                <a:lumMod val="6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016</a:t>
              </a:r>
            </a:p>
          </p:txBody>
        </p:sp>
      </p:grpSp>
      <p:grpSp>
        <p:nvGrpSpPr>
          <p:cNvPr id="163" name="Group 162"/>
          <p:cNvGrpSpPr/>
          <p:nvPr/>
        </p:nvGrpSpPr>
        <p:grpSpPr>
          <a:xfrm>
            <a:off x="6050039" y="1221470"/>
            <a:ext cx="2309318" cy="4162585"/>
            <a:chOff x="51751" y="218350"/>
            <a:chExt cx="2309318" cy="4162585"/>
          </a:xfrm>
        </p:grpSpPr>
        <p:sp>
          <p:nvSpPr>
            <p:cNvPr id="164" name="Diamond 163"/>
            <p:cNvSpPr/>
            <p:nvPr/>
          </p:nvSpPr>
          <p:spPr>
            <a:xfrm>
              <a:off x="586858" y="1733254"/>
              <a:ext cx="1214651" cy="1255594"/>
            </a:xfrm>
            <a:prstGeom prst="diamond">
              <a:avLst/>
            </a:prstGeom>
            <a:solidFill>
              <a:srgbClr val="00A4E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65" name="Straight Connector 164"/>
            <p:cNvCxnSpPr/>
            <p:nvPr/>
          </p:nvCxnSpPr>
          <p:spPr>
            <a:xfrm>
              <a:off x="1180535" y="218350"/>
              <a:ext cx="0" cy="4148918"/>
            </a:xfrm>
            <a:prstGeom prst="line">
              <a:avLst/>
            </a:prstGeom>
            <a:noFill/>
            <a:ln w="6350" cap="flat" cmpd="sng" algn="ctr">
              <a:solidFill>
                <a:srgbClr val="00A4E4"/>
              </a:solidFill>
              <a:prstDash val="solid"/>
              <a:miter lim="800000"/>
            </a:ln>
            <a:effectLst/>
          </p:spPr>
        </p:cxnSp>
        <p:sp>
          <p:nvSpPr>
            <p:cNvPr id="166" name="Pentagon 165"/>
            <p:cNvSpPr/>
            <p:nvPr/>
          </p:nvSpPr>
          <p:spPr>
            <a:xfrm>
              <a:off x="1194186" y="3971504"/>
              <a:ext cx="1166883" cy="409431"/>
            </a:xfrm>
            <a:prstGeom prst="homePlate">
              <a:avLst/>
            </a:prstGeom>
            <a:solidFill>
              <a:srgbClr val="BDD19D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017/18</a:t>
              </a:r>
            </a:p>
          </p:txBody>
        </p:sp>
        <p:sp>
          <p:nvSpPr>
            <p:cNvPr id="167" name="Pentagon 166"/>
            <p:cNvSpPr/>
            <p:nvPr/>
          </p:nvSpPr>
          <p:spPr>
            <a:xfrm flipH="1">
              <a:off x="51751" y="218350"/>
              <a:ext cx="1142432" cy="409431"/>
            </a:xfrm>
            <a:prstGeom prst="homePlate">
              <a:avLst/>
            </a:prstGeom>
            <a:solidFill>
              <a:srgbClr val="FFFFFF">
                <a:lumMod val="6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016</a:t>
              </a:r>
            </a:p>
          </p:txBody>
        </p:sp>
      </p:grpSp>
      <p:grpSp>
        <p:nvGrpSpPr>
          <p:cNvPr id="168" name="Group 167"/>
          <p:cNvGrpSpPr/>
          <p:nvPr/>
        </p:nvGrpSpPr>
        <p:grpSpPr>
          <a:xfrm>
            <a:off x="7785607" y="1210094"/>
            <a:ext cx="2309318" cy="4162585"/>
            <a:chOff x="51751" y="218350"/>
            <a:chExt cx="2309318" cy="4162585"/>
          </a:xfrm>
        </p:grpSpPr>
        <p:sp>
          <p:nvSpPr>
            <p:cNvPr id="169" name="Diamond 168"/>
            <p:cNvSpPr/>
            <p:nvPr/>
          </p:nvSpPr>
          <p:spPr>
            <a:xfrm>
              <a:off x="586858" y="1733254"/>
              <a:ext cx="1214651" cy="1255594"/>
            </a:xfrm>
            <a:prstGeom prst="diamond">
              <a:avLst/>
            </a:prstGeom>
            <a:solidFill>
              <a:srgbClr val="00A4E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70" name="Straight Connector 169"/>
            <p:cNvCxnSpPr/>
            <p:nvPr/>
          </p:nvCxnSpPr>
          <p:spPr>
            <a:xfrm>
              <a:off x="1180535" y="218350"/>
              <a:ext cx="0" cy="4148918"/>
            </a:xfrm>
            <a:prstGeom prst="line">
              <a:avLst/>
            </a:prstGeom>
            <a:noFill/>
            <a:ln w="6350" cap="flat" cmpd="sng" algn="ctr">
              <a:solidFill>
                <a:srgbClr val="00A4E4"/>
              </a:solidFill>
              <a:prstDash val="solid"/>
              <a:miter lim="800000"/>
            </a:ln>
            <a:effectLst/>
          </p:spPr>
        </p:cxnSp>
        <p:sp>
          <p:nvSpPr>
            <p:cNvPr id="171" name="Pentagon 170"/>
            <p:cNvSpPr/>
            <p:nvPr/>
          </p:nvSpPr>
          <p:spPr>
            <a:xfrm>
              <a:off x="1194186" y="3971504"/>
              <a:ext cx="1166883" cy="409431"/>
            </a:xfrm>
            <a:prstGeom prst="homePlate">
              <a:avLst/>
            </a:prstGeom>
            <a:solidFill>
              <a:srgbClr val="BDD19D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017/18</a:t>
              </a:r>
            </a:p>
          </p:txBody>
        </p:sp>
        <p:sp>
          <p:nvSpPr>
            <p:cNvPr id="172" name="Pentagon 171"/>
            <p:cNvSpPr/>
            <p:nvPr/>
          </p:nvSpPr>
          <p:spPr>
            <a:xfrm flipH="1">
              <a:off x="51751" y="218350"/>
              <a:ext cx="1142432" cy="409431"/>
            </a:xfrm>
            <a:prstGeom prst="homePlate">
              <a:avLst/>
            </a:prstGeom>
            <a:solidFill>
              <a:srgbClr val="FFFFFF">
                <a:lumMod val="6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016</a:t>
              </a:r>
            </a:p>
          </p:txBody>
        </p:sp>
      </p:grpSp>
      <p:grpSp>
        <p:nvGrpSpPr>
          <p:cNvPr id="173" name="Group 172"/>
          <p:cNvGrpSpPr/>
          <p:nvPr/>
        </p:nvGrpSpPr>
        <p:grpSpPr>
          <a:xfrm>
            <a:off x="9712247" y="1212366"/>
            <a:ext cx="2309318" cy="4162585"/>
            <a:chOff x="51751" y="218350"/>
            <a:chExt cx="2309318" cy="4162585"/>
          </a:xfrm>
        </p:grpSpPr>
        <p:sp>
          <p:nvSpPr>
            <p:cNvPr id="174" name="Diamond 173"/>
            <p:cNvSpPr/>
            <p:nvPr/>
          </p:nvSpPr>
          <p:spPr>
            <a:xfrm>
              <a:off x="586858" y="1733254"/>
              <a:ext cx="1214651" cy="1255594"/>
            </a:xfrm>
            <a:prstGeom prst="diamond">
              <a:avLst/>
            </a:prstGeom>
            <a:solidFill>
              <a:srgbClr val="00A4E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75" name="Straight Connector 174"/>
            <p:cNvCxnSpPr/>
            <p:nvPr/>
          </p:nvCxnSpPr>
          <p:spPr>
            <a:xfrm>
              <a:off x="1180535" y="218350"/>
              <a:ext cx="0" cy="4148918"/>
            </a:xfrm>
            <a:prstGeom prst="line">
              <a:avLst/>
            </a:prstGeom>
            <a:noFill/>
            <a:ln w="6350" cap="flat" cmpd="sng" algn="ctr">
              <a:solidFill>
                <a:srgbClr val="00A4E4"/>
              </a:solidFill>
              <a:prstDash val="solid"/>
              <a:miter lim="800000"/>
            </a:ln>
            <a:effectLst/>
          </p:spPr>
        </p:cxnSp>
        <p:sp>
          <p:nvSpPr>
            <p:cNvPr id="176" name="Pentagon 175"/>
            <p:cNvSpPr/>
            <p:nvPr/>
          </p:nvSpPr>
          <p:spPr>
            <a:xfrm>
              <a:off x="1194186" y="3971504"/>
              <a:ext cx="1166883" cy="409431"/>
            </a:xfrm>
            <a:prstGeom prst="homePlate">
              <a:avLst/>
            </a:prstGeom>
            <a:solidFill>
              <a:srgbClr val="BDD19D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017/18</a:t>
              </a:r>
            </a:p>
          </p:txBody>
        </p:sp>
        <p:sp>
          <p:nvSpPr>
            <p:cNvPr id="177" name="Pentagon 176"/>
            <p:cNvSpPr/>
            <p:nvPr/>
          </p:nvSpPr>
          <p:spPr>
            <a:xfrm flipH="1">
              <a:off x="51751" y="218350"/>
              <a:ext cx="1142432" cy="409431"/>
            </a:xfrm>
            <a:prstGeom prst="homePlate">
              <a:avLst/>
            </a:prstGeom>
            <a:solidFill>
              <a:srgbClr val="FFFFFF">
                <a:lumMod val="6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016</a:t>
              </a:r>
            </a:p>
          </p:txBody>
        </p:sp>
      </p:grpSp>
      <p:sp>
        <p:nvSpPr>
          <p:cNvPr id="178" name="TextBox 177"/>
          <p:cNvSpPr txBox="1"/>
          <p:nvPr/>
        </p:nvSpPr>
        <p:spPr>
          <a:xfrm>
            <a:off x="-81888" y="1665041"/>
            <a:ext cx="146031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Multiple source </a:t>
            </a:r>
            <a:r>
              <a:rPr kumimoji="0" lang="en-US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mgmt</a:t>
            </a: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 tools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Unclear branching strategies</a:t>
            </a:r>
          </a:p>
        </p:txBody>
      </p:sp>
      <p:sp>
        <p:nvSpPr>
          <p:cNvPr id="179" name="TextBox 178"/>
          <p:cNvSpPr txBox="1"/>
          <p:nvPr/>
        </p:nvSpPr>
        <p:spPr>
          <a:xfrm>
            <a:off x="1186807" y="3891937"/>
            <a:ext cx="202698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No of Users: </a:t>
            </a:r>
            <a:r>
              <a:rPr kumimoji="0" 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302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No of Commit: </a:t>
            </a:r>
            <a:r>
              <a:rPr kumimoji="0" 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106003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No of Repos: </a:t>
            </a:r>
            <a:r>
              <a:rPr kumimoji="0" 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869</a:t>
            </a:r>
          </a:p>
        </p:txBody>
      </p:sp>
      <p:sp>
        <p:nvSpPr>
          <p:cNvPr id="180" name="TextBox 179"/>
          <p:cNvSpPr txBox="1"/>
          <p:nvPr/>
        </p:nvSpPr>
        <p:spPr>
          <a:xfrm>
            <a:off x="2019870" y="1674117"/>
            <a:ext cx="132415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No Code Quality measures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Unknown tech debt</a:t>
            </a:r>
          </a:p>
        </p:txBody>
      </p:sp>
      <p:sp>
        <p:nvSpPr>
          <p:cNvPr id="181" name="TextBox 180"/>
          <p:cNvSpPr txBox="1"/>
          <p:nvPr/>
        </p:nvSpPr>
        <p:spPr>
          <a:xfrm>
            <a:off x="3213793" y="3865697"/>
            <a:ext cx="200852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No of Scans: </a:t>
            </a:r>
            <a:r>
              <a:rPr kumimoji="0" 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20139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Fixed Findings: </a:t>
            </a:r>
            <a:r>
              <a:rPr kumimoji="0" 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595555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Build Breakers: </a:t>
            </a:r>
            <a:r>
              <a:rPr kumimoji="0" 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863</a:t>
            </a:r>
          </a:p>
        </p:txBody>
      </p:sp>
      <p:sp>
        <p:nvSpPr>
          <p:cNvPr id="182" name="TextBox 181"/>
          <p:cNvSpPr txBox="1"/>
          <p:nvPr/>
        </p:nvSpPr>
        <p:spPr>
          <a:xfrm>
            <a:off x="627802" y="3104628"/>
            <a:ext cx="11907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Source Management</a:t>
            </a:r>
          </a:p>
        </p:txBody>
      </p:sp>
      <p:sp>
        <p:nvSpPr>
          <p:cNvPr id="183" name="TextBox 182"/>
          <p:cNvSpPr txBox="1"/>
          <p:nvPr/>
        </p:nvSpPr>
        <p:spPr>
          <a:xfrm>
            <a:off x="2718217" y="3058282"/>
            <a:ext cx="11907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Code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Quality</a:t>
            </a:r>
          </a:p>
        </p:txBody>
      </p:sp>
      <p:sp>
        <p:nvSpPr>
          <p:cNvPr id="184" name="TextBox 183"/>
          <p:cNvSpPr txBox="1"/>
          <p:nvPr/>
        </p:nvSpPr>
        <p:spPr>
          <a:xfrm>
            <a:off x="3881692" y="1674117"/>
            <a:ext cx="143873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Tickets based manual process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No versioning for packages</a:t>
            </a:r>
          </a:p>
        </p:txBody>
      </p:sp>
      <p:sp>
        <p:nvSpPr>
          <p:cNvPr id="185" name="TextBox 184"/>
          <p:cNvSpPr txBox="1"/>
          <p:nvPr/>
        </p:nvSpPr>
        <p:spPr>
          <a:xfrm>
            <a:off x="5222321" y="3895265"/>
            <a:ext cx="192920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Zero touch build </a:t>
            </a:r>
            <a:r>
              <a:rPr kumimoji="0" 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19230  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Versioning:</a:t>
            </a:r>
            <a:r>
              <a:rPr kumimoji="0" 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 Y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Auto Release notes: </a:t>
            </a:r>
            <a:r>
              <a:rPr kumimoji="0" 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Y</a:t>
            </a:r>
          </a:p>
        </p:txBody>
      </p:sp>
      <p:sp>
        <p:nvSpPr>
          <p:cNvPr id="186" name="TextBox 185"/>
          <p:cNvSpPr txBox="1"/>
          <p:nvPr/>
        </p:nvSpPr>
        <p:spPr>
          <a:xfrm>
            <a:off x="4729618" y="3074200"/>
            <a:ext cx="11907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Build Automation</a:t>
            </a:r>
          </a:p>
        </p:txBody>
      </p:sp>
      <p:sp>
        <p:nvSpPr>
          <p:cNvPr id="187" name="TextBox 186"/>
          <p:cNvSpPr txBox="1"/>
          <p:nvPr/>
        </p:nvSpPr>
        <p:spPr>
          <a:xfrm>
            <a:off x="6583438" y="3104627"/>
            <a:ext cx="11907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Pipeline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Orchestration</a:t>
            </a:r>
          </a:p>
        </p:txBody>
      </p:sp>
      <p:sp>
        <p:nvSpPr>
          <p:cNvPr id="188" name="TextBox 187"/>
          <p:cNvSpPr txBox="1"/>
          <p:nvPr/>
        </p:nvSpPr>
        <p:spPr>
          <a:xfrm>
            <a:off x="5740092" y="1676389"/>
            <a:ext cx="143873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All steps are manual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No public cloud support model</a:t>
            </a:r>
          </a:p>
        </p:txBody>
      </p:sp>
      <p:sp>
        <p:nvSpPr>
          <p:cNvPr id="189" name="TextBox 188"/>
          <p:cNvSpPr txBox="1"/>
          <p:nvPr/>
        </p:nvSpPr>
        <p:spPr>
          <a:xfrm>
            <a:off x="7133041" y="3895265"/>
            <a:ext cx="178134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Active pipelines: </a:t>
            </a:r>
            <a:r>
              <a:rPr kumimoji="0" 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691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Cloud pipes: </a:t>
            </a:r>
            <a:r>
              <a:rPr kumimoji="0" 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2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Day2 support: </a:t>
            </a:r>
            <a:r>
              <a:rPr kumimoji="0" 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Y</a:t>
            </a:r>
          </a:p>
        </p:txBody>
      </p:sp>
      <p:sp>
        <p:nvSpPr>
          <p:cNvPr id="190" name="TextBox 189"/>
          <p:cNvSpPr txBox="1"/>
          <p:nvPr/>
        </p:nvSpPr>
        <p:spPr>
          <a:xfrm>
            <a:off x="8359950" y="3194762"/>
            <a:ext cx="119076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Deployments</a:t>
            </a:r>
          </a:p>
        </p:txBody>
      </p:sp>
      <p:sp>
        <p:nvSpPr>
          <p:cNvPr id="191" name="TextBox 190"/>
          <p:cNvSpPr txBox="1"/>
          <p:nvPr/>
        </p:nvSpPr>
        <p:spPr>
          <a:xfrm>
            <a:off x="7721324" y="1678661"/>
            <a:ext cx="143873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24 </a:t>
            </a:r>
            <a:r>
              <a:rPr kumimoji="0" lang="en-US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hrs</a:t>
            </a: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 SLA – QA, Model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Dev One deploy/day</a:t>
            </a:r>
          </a:p>
        </p:txBody>
      </p:sp>
      <p:sp>
        <p:nvSpPr>
          <p:cNvPr id="192" name="TextBox 191"/>
          <p:cNvSpPr txBox="1"/>
          <p:nvPr/>
        </p:nvSpPr>
        <p:spPr>
          <a:xfrm>
            <a:off x="8841313" y="3911185"/>
            <a:ext cx="191782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Total Deploys: </a:t>
            </a:r>
            <a:r>
              <a:rPr kumimoji="0" 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17903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Avg</a:t>
            </a: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 Deploys/day: </a:t>
            </a:r>
            <a:r>
              <a:rPr kumimoji="0" 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137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~2018 forecast: </a:t>
            </a:r>
            <a:r>
              <a:rPr kumimoji="0" 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100K</a:t>
            </a:r>
          </a:p>
        </p:txBody>
      </p:sp>
      <p:sp>
        <p:nvSpPr>
          <p:cNvPr id="193" name="TextBox 192"/>
          <p:cNvSpPr txBox="1"/>
          <p:nvPr/>
        </p:nvSpPr>
        <p:spPr>
          <a:xfrm>
            <a:off x="10245646" y="3101498"/>
            <a:ext cx="11907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Release/ Changes</a:t>
            </a:r>
          </a:p>
        </p:txBody>
      </p:sp>
      <p:sp>
        <p:nvSpPr>
          <p:cNvPr id="194" name="TextBox 193"/>
          <p:cNvSpPr txBox="1"/>
          <p:nvPr/>
        </p:nvSpPr>
        <p:spPr>
          <a:xfrm>
            <a:off x="9321420" y="1694581"/>
            <a:ext cx="157420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All changes are “normal” changes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2 weeks code freeze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</p:txBody>
      </p:sp>
      <p:sp>
        <p:nvSpPr>
          <p:cNvPr id="195" name="TextBox 194"/>
          <p:cNvSpPr txBox="1"/>
          <p:nvPr/>
        </p:nvSpPr>
        <p:spPr>
          <a:xfrm>
            <a:off x="10745656" y="3834464"/>
            <a:ext cx="163302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Prd</a:t>
            </a: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 Deploy:</a:t>
            </a:r>
            <a:r>
              <a:rPr kumimoji="0" 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1320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Std</a:t>
            </a: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 Change freeze: </a:t>
            </a:r>
            <a:r>
              <a:rPr kumimoji="0" 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1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Release WF: </a:t>
            </a:r>
            <a:r>
              <a:rPr kumimoji="0" 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Y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224867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2_AIG_Presentation_Template_0513">
  <a:themeElements>
    <a:clrScheme name="AIG Template 6">
      <a:dk1>
        <a:srgbClr val="000000"/>
      </a:dk1>
      <a:lt1>
        <a:srgbClr val="00A4E4"/>
      </a:lt1>
      <a:dk2>
        <a:srgbClr val="5F5F5F"/>
      </a:dk2>
      <a:lt2>
        <a:srgbClr val="FDB913"/>
      </a:lt2>
      <a:accent1>
        <a:srgbClr val="0073AE"/>
      </a:accent1>
      <a:accent2>
        <a:srgbClr val="E36F1E"/>
      </a:accent2>
      <a:accent3>
        <a:srgbClr val="AACFEF"/>
      </a:accent3>
      <a:accent4>
        <a:srgbClr val="000000"/>
      </a:accent4>
      <a:accent5>
        <a:srgbClr val="AABCD3"/>
      </a:accent5>
      <a:accent6>
        <a:srgbClr val="CE641A"/>
      </a:accent6>
      <a:hlink>
        <a:srgbClr val="78A22F"/>
      </a:hlink>
      <a:folHlink>
        <a:srgbClr val="C41230"/>
      </a:folHlink>
    </a:clrScheme>
    <a:fontScheme name="AIG Template">
      <a:majorFont>
        <a:latin typeface="Arial"/>
        <a:ea typeface="ＭＳ Ｐゴシック"/>
        <a:cs typeface="Arial"/>
      </a:majorFont>
      <a:minorFont>
        <a:latin typeface="Arial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>
          <a:noFill/>
        </a:ln>
      </a:spPr>
      <a:bodyPr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AIG Template 1">
        <a:dk1>
          <a:srgbClr val="005984"/>
        </a:dk1>
        <a:lt1>
          <a:srgbClr val="00A4E4"/>
        </a:lt1>
        <a:dk2>
          <a:srgbClr val="78A22F"/>
        </a:dk2>
        <a:lt2>
          <a:srgbClr val="E36F1E"/>
        </a:lt2>
        <a:accent1>
          <a:srgbClr val="C41230"/>
        </a:accent1>
        <a:accent2>
          <a:srgbClr val="FDB913"/>
        </a:accent2>
        <a:accent3>
          <a:srgbClr val="AACFEF"/>
        </a:accent3>
        <a:accent4>
          <a:srgbClr val="004B70"/>
        </a:accent4>
        <a:accent5>
          <a:srgbClr val="DEAAAD"/>
        </a:accent5>
        <a:accent6>
          <a:srgbClr val="E5A710"/>
        </a:accent6>
        <a:hlink>
          <a:srgbClr val="AF006E"/>
        </a:hlink>
        <a:folHlink>
          <a:srgbClr val="5F5F5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G Template 2">
        <a:dk1>
          <a:srgbClr val="5F5F5F"/>
        </a:dk1>
        <a:lt1>
          <a:srgbClr val="FDB913"/>
        </a:lt1>
        <a:dk2>
          <a:srgbClr val="78A22F"/>
        </a:dk2>
        <a:lt2>
          <a:srgbClr val="E36F1E"/>
        </a:lt2>
        <a:accent1>
          <a:srgbClr val="005984"/>
        </a:accent1>
        <a:accent2>
          <a:srgbClr val="E36F1E"/>
        </a:accent2>
        <a:accent3>
          <a:srgbClr val="FED9AA"/>
        </a:accent3>
        <a:accent4>
          <a:srgbClr val="505050"/>
        </a:accent4>
        <a:accent5>
          <a:srgbClr val="AAB5C2"/>
        </a:accent5>
        <a:accent6>
          <a:srgbClr val="CE641A"/>
        </a:accent6>
        <a:hlink>
          <a:srgbClr val="78A22F"/>
        </a:hlink>
        <a:folHlink>
          <a:srgbClr val="C4123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G Template 3">
        <a:dk1>
          <a:srgbClr val="78A22F"/>
        </a:dk1>
        <a:lt1>
          <a:srgbClr val="E36F1E"/>
        </a:lt1>
        <a:dk2>
          <a:srgbClr val="005984"/>
        </a:dk2>
        <a:lt2>
          <a:srgbClr val="C41230"/>
        </a:lt2>
        <a:accent1>
          <a:srgbClr val="FDB913"/>
        </a:accent1>
        <a:accent2>
          <a:srgbClr val="5F5F5F"/>
        </a:accent2>
        <a:accent3>
          <a:srgbClr val="AAB5C2"/>
        </a:accent3>
        <a:accent4>
          <a:srgbClr val="C25E18"/>
        </a:accent4>
        <a:accent5>
          <a:srgbClr val="FED9AA"/>
        </a:accent5>
        <a:accent6>
          <a:srgbClr val="555555"/>
        </a:accent6>
        <a:hlink>
          <a:srgbClr val="00A4E4"/>
        </a:hlink>
        <a:folHlink>
          <a:srgbClr val="C4123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IG Template 4">
        <a:dk1>
          <a:srgbClr val="78A22F"/>
        </a:dk1>
        <a:lt1>
          <a:srgbClr val="E36F1E"/>
        </a:lt1>
        <a:dk2>
          <a:srgbClr val="005984"/>
        </a:dk2>
        <a:lt2>
          <a:srgbClr val="C41230"/>
        </a:lt2>
        <a:accent1>
          <a:srgbClr val="FDB913"/>
        </a:accent1>
        <a:accent2>
          <a:srgbClr val="5F5F5F"/>
        </a:accent2>
        <a:accent3>
          <a:srgbClr val="AAB5C2"/>
        </a:accent3>
        <a:accent4>
          <a:srgbClr val="C25E18"/>
        </a:accent4>
        <a:accent5>
          <a:srgbClr val="FED9AA"/>
        </a:accent5>
        <a:accent6>
          <a:srgbClr val="555555"/>
        </a:accent6>
        <a:hlink>
          <a:srgbClr val="00A4E4"/>
        </a:hlink>
        <a:folHlink>
          <a:srgbClr val="00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IG Template 5">
        <a:dk1>
          <a:srgbClr val="000000"/>
        </a:dk1>
        <a:lt1>
          <a:srgbClr val="00A4E4"/>
        </a:lt1>
        <a:dk2>
          <a:srgbClr val="5F5F5F"/>
        </a:dk2>
        <a:lt2>
          <a:srgbClr val="FDB913"/>
        </a:lt2>
        <a:accent1>
          <a:srgbClr val="005984"/>
        </a:accent1>
        <a:accent2>
          <a:srgbClr val="E36F1E"/>
        </a:accent2>
        <a:accent3>
          <a:srgbClr val="AACFEF"/>
        </a:accent3>
        <a:accent4>
          <a:srgbClr val="000000"/>
        </a:accent4>
        <a:accent5>
          <a:srgbClr val="AAB5C2"/>
        </a:accent5>
        <a:accent6>
          <a:srgbClr val="CE641A"/>
        </a:accent6>
        <a:hlink>
          <a:srgbClr val="78A22F"/>
        </a:hlink>
        <a:folHlink>
          <a:srgbClr val="C4123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G Template 6">
        <a:dk1>
          <a:srgbClr val="000000"/>
        </a:dk1>
        <a:lt1>
          <a:srgbClr val="00A4E4"/>
        </a:lt1>
        <a:dk2>
          <a:srgbClr val="5F5F5F"/>
        </a:dk2>
        <a:lt2>
          <a:srgbClr val="FDB913"/>
        </a:lt2>
        <a:accent1>
          <a:srgbClr val="0073AE"/>
        </a:accent1>
        <a:accent2>
          <a:srgbClr val="E36F1E"/>
        </a:accent2>
        <a:accent3>
          <a:srgbClr val="AACFEF"/>
        </a:accent3>
        <a:accent4>
          <a:srgbClr val="000000"/>
        </a:accent4>
        <a:accent5>
          <a:srgbClr val="AABCD3"/>
        </a:accent5>
        <a:accent6>
          <a:srgbClr val="CE641A"/>
        </a:accent6>
        <a:hlink>
          <a:srgbClr val="78A22F"/>
        </a:hlink>
        <a:folHlink>
          <a:srgbClr val="C412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11_AIG_Presentation_Template_0513">
  <a:themeElements>
    <a:clrScheme name="AIG Template 6">
      <a:dk1>
        <a:srgbClr val="000000"/>
      </a:dk1>
      <a:lt1>
        <a:srgbClr val="00A4E4"/>
      </a:lt1>
      <a:dk2>
        <a:srgbClr val="5F5F5F"/>
      </a:dk2>
      <a:lt2>
        <a:srgbClr val="FDB913"/>
      </a:lt2>
      <a:accent1>
        <a:srgbClr val="0073AE"/>
      </a:accent1>
      <a:accent2>
        <a:srgbClr val="E36F1E"/>
      </a:accent2>
      <a:accent3>
        <a:srgbClr val="AACFEF"/>
      </a:accent3>
      <a:accent4>
        <a:srgbClr val="000000"/>
      </a:accent4>
      <a:accent5>
        <a:srgbClr val="AABCD3"/>
      </a:accent5>
      <a:accent6>
        <a:srgbClr val="CE641A"/>
      </a:accent6>
      <a:hlink>
        <a:srgbClr val="78A22F"/>
      </a:hlink>
      <a:folHlink>
        <a:srgbClr val="C41230"/>
      </a:folHlink>
    </a:clrScheme>
    <a:fontScheme name="AIG Template">
      <a:majorFont>
        <a:latin typeface="Arial"/>
        <a:ea typeface="ＭＳ Ｐゴシック"/>
        <a:cs typeface="Arial"/>
      </a:majorFont>
      <a:minorFont>
        <a:latin typeface="Arial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IG Template 1">
        <a:dk1>
          <a:srgbClr val="005984"/>
        </a:dk1>
        <a:lt1>
          <a:srgbClr val="00A4E4"/>
        </a:lt1>
        <a:dk2>
          <a:srgbClr val="78A22F"/>
        </a:dk2>
        <a:lt2>
          <a:srgbClr val="E36F1E"/>
        </a:lt2>
        <a:accent1>
          <a:srgbClr val="C41230"/>
        </a:accent1>
        <a:accent2>
          <a:srgbClr val="FDB913"/>
        </a:accent2>
        <a:accent3>
          <a:srgbClr val="AACFEF"/>
        </a:accent3>
        <a:accent4>
          <a:srgbClr val="004B70"/>
        </a:accent4>
        <a:accent5>
          <a:srgbClr val="DEAAAD"/>
        </a:accent5>
        <a:accent6>
          <a:srgbClr val="E5A710"/>
        </a:accent6>
        <a:hlink>
          <a:srgbClr val="AF006E"/>
        </a:hlink>
        <a:folHlink>
          <a:srgbClr val="5F5F5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G Template 2">
        <a:dk1>
          <a:srgbClr val="5F5F5F"/>
        </a:dk1>
        <a:lt1>
          <a:srgbClr val="FDB913"/>
        </a:lt1>
        <a:dk2>
          <a:srgbClr val="78A22F"/>
        </a:dk2>
        <a:lt2>
          <a:srgbClr val="E36F1E"/>
        </a:lt2>
        <a:accent1>
          <a:srgbClr val="005984"/>
        </a:accent1>
        <a:accent2>
          <a:srgbClr val="E36F1E"/>
        </a:accent2>
        <a:accent3>
          <a:srgbClr val="FED9AA"/>
        </a:accent3>
        <a:accent4>
          <a:srgbClr val="505050"/>
        </a:accent4>
        <a:accent5>
          <a:srgbClr val="AAB5C2"/>
        </a:accent5>
        <a:accent6>
          <a:srgbClr val="CE641A"/>
        </a:accent6>
        <a:hlink>
          <a:srgbClr val="78A22F"/>
        </a:hlink>
        <a:folHlink>
          <a:srgbClr val="C4123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G Template 3">
        <a:dk1>
          <a:srgbClr val="78A22F"/>
        </a:dk1>
        <a:lt1>
          <a:srgbClr val="E36F1E"/>
        </a:lt1>
        <a:dk2>
          <a:srgbClr val="005984"/>
        </a:dk2>
        <a:lt2>
          <a:srgbClr val="C41230"/>
        </a:lt2>
        <a:accent1>
          <a:srgbClr val="FDB913"/>
        </a:accent1>
        <a:accent2>
          <a:srgbClr val="5F5F5F"/>
        </a:accent2>
        <a:accent3>
          <a:srgbClr val="AAB5C2"/>
        </a:accent3>
        <a:accent4>
          <a:srgbClr val="C25E18"/>
        </a:accent4>
        <a:accent5>
          <a:srgbClr val="FED9AA"/>
        </a:accent5>
        <a:accent6>
          <a:srgbClr val="555555"/>
        </a:accent6>
        <a:hlink>
          <a:srgbClr val="00A4E4"/>
        </a:hlink>
        <a:folHlink>
          <a:srgbClr val="C4123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IG Template 4">
        <a:dk1>
          <a:srgbClr val="78A22F"/>
        </a:dk1>
        <a:lt1>
          <a:srgbClr val="E36F1E"/>
        </a:lt1>
        <a:dk2>
          <a:srgbClr val="005984"/>
        </a:dk2>
        <a:lt2>
          <a:srgbClr val="C41230"/>
        </a:lt2>
        <a:accent1>
          <a:srgbClr val="FDB913"/>
        </a:accent1>
        <a:accent2>
          <a:srgbClr val="5F5F5F"/>
        </a:accent2>
        <a:accent3>
          <a:srgbClr val="AAB5C2"/>
        </a:accent3>
        <a:accent4>
          <a:srgbClr val="C25E18"/>
        </a:accent4>
        <a:accent5>
          <a:srgbClr val="FED9AA"/>
        </a:accent5>
        <a:accent6>
          <a:srgbClr val="555555"/>
        </a:accent6>
        <a:hlink>
          <a:srgbClr val="00A4E4"/>
        </a:hlink>
        <a:folHlink>
          <a:srgbClr val="00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IG Template 5">
        <a:dk1>
          <a:srgbClr val="000000"/>
        </a:dk1>
        <a:lt1>
          <a:srgbClr val="00A4E4"/>
        </a:lt1>
        <a:dk2>
          <a:srgbClr val="5F5F5F"/>
        </a:dk2>
        <a:lt2>
          <a:srgbClr val="FDB913"/>
        </a:lt2>
        <a:accent1>
          <a:srgbClr val="005984"/>
        </a:accent1>
        <a:accent2>
          <a:srgbClr val="E36F1E"/>
        </a:accent2>
        <a:accent3>
          <a:srgbClr val="AACFEF"/>
        </a:accent3>
        <a:accent4>
          <a:srgbClr val="000000"/>
        </a:accent4>
        <a:accent5>
          <a:srgbClr val="AAB5C2"/>
        </a:accent5>
        <a:accent6>
          <a:srgbClr val="CE641A"/>
        </a:accent6>
        <a:hlink>
          <a:srgbClr val="78A22F"/>
        </a:hlink>
        <a:folHlink>
          <a:srgbClr val="C4123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G Template 6">
        <a:dk1>
          <a:srgbClr val="000000"/>
        </a:dk1>
        <a:lt1>
          <a:srgbClr val="00A4E4"/>
        </a:lt1>
        <a:dk2>
          <a:srgbClr val="5F5F5F"/>
        </a:dk2>
        <a:lt2>
          <a:srgbClr val="FDB913"/>
        </a:lt2>
        <a:accent1>
          <a:srgbClr val="0073AE"/>
        </a:accent1>
        <a:accent2>
          <a:srgbClr val="E36F1E"/>
        </a:accent2>
        <a:accent3>
          <a:srgbClr val="AACFEF"/>
        </a:accent3>
        <a:accent4>
          <a:srgbClr val="000000"/>
        </a:accent4>
        <a:accent5>
          <a:srgbClr val="AABCD3"/>
        </a:accent5>
        <a:accent6>
          <a:srgbClr val="CE641A"/>
        </a:accent6>
        <a:hlink>
          <a:srgbClr val="78A22F"/>
        </a:hlink>
        <a:folHlink>
          <a:srgbClr val="C412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12_AIG_Presentation_Template_0513">
  <a:themeElements>
    <a:clrScheme name="AIG Template 6">
      <a:dk1>
        <a:srgbClr val="000000"/>
      </a:dk1>
      <a:lt1>
        <a:srgbClr val="00A4E4"/>
      </a:lt1>
      <a:dk2>
        <a:srgbClr val="5F5F5F"/>
      </a:dk2>
      <a:lt2>
        <a:srgbClr val="FDB913"/>
      </a:lt2>
      <a:accent1>
        <a:srgbClr val="0073AE"/>
      </a:accent1>
      <a:accent2>
        <a:srgbClr val="E36F1E"/>
      </a:accent2>
      <a:accent3>
        <a:srgbClr val="AACFEF"/>
      </a:accent3>
      <a:accent4>
        <a:srgbClr val="000000"/>
      </a:accent4>
      <a:accent5>
        <a:srgbClr val="AABCD3"/>
      </a:accent5>
      <a:accent6>
        <a:srgbClr val="CE641A"/>
      </a:accent6>
      <a:hlink>
        <a:srgbClr val="78A22F"/>
      </a:hlink>
      <a:folHlink>
        <a:srgbClr val="C41230"/>
      </a:folHlink>
    </a:clrScheme>
    <a:fontScheme name="AIG Template">
      <a:majorFont>
        <a:latin typeface="Arial"/>
        <a:ea typeface="ＭＳ Ｐゴシック"/>
        <a:cs typeface="Arial"/>
      </a:majorFont>
      <a:minorFont>
        <a:latin typeface="Arial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IG Template 1">
        <a:dk1>
          <a:srgbClr val="005984"/>
        </a:dk1>
        <a:lt1>
          <a:srgbClr val="00A4E4"/>
        </a:lt1>
        <a:dk2>
          <a:srgbClr val="78A22F"/>
        </a:dk2>
        <a:lt2>
          <a:srgbClr val="E36F1E"/>
        </a:lt2>
        <a:accent1>
          <a:srgbClr val="C41230"/>
        </a:accent1>
        <a:accent2>
          <a:srgbClr val="FDB913"/>
        </a:accent2>
        <a:accent3>
          <a:srgbClr val="AACFEF"/>
        </a:accent3>
        <a:accent4>
          <a:srgbClr val="004B70"/>
        </a:accent4>
        <a:accent5>
          <a:srgbClr val="DEAAAD"/>
        </a:accent5>
        <a:accent6>
          <a:srgbClr val="E5A710"/>
        </a:accent6>
        <a:hlink>
          <a:srgbClr val="AF006E"/>
        </a:hlink>
        <a:folHlink>
          <a:srgbClr val="5F5F5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G Template 2">
        <a:dk1>
          <a:srgbClr val="5F5F5F"/>
        </a:dk1>
        <a:lt1>
          <a:srgbClr val="FDB913"/>
        </a:lt1>
        <a:dk2>
          <a:srgbClr val="78A22F"/>
        </a:dk2>
        <a:lt2>
          <a:srgbClr val="E36F1E"/>
        </a:lt2>
        <a:accent1>
          <a:srgbClr val="005984"/>
        </a:accent1>
        <a:accent2>
          <a:srgbClr val="E36F1E"/>
        </a:accent2>
        <a:accent3>
          <a:srgbClr val="FED9AA"/>
        </a:accent3>
        <a:accent4>
          <a:srgbClr val="505050"/>
        </a:accent4>
        <a:accent5>
          <a:srgbClr val="AAB5C2"/>
        </a:accent5>
        <a:accent6>
          <a:srgbClr val="CE641A"/>
        </a:accent6>
        <a:hlink>
          <a:srgbClr val="78A22F"/>
        </a:hlink>
        <a:folHlink>
          <a:srgbClr val="C4123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G Template 3">
        <a:dk1>
          <a:srgbClr val="78A22F"/>
        </a:dk1>
        <a:lt1>
          <a:srgbClr val="E36F1E"/>
        </a:lt1>
        <a:dk2>
          <a:srgbClr val="005984"/>
        </a:dk2>
        <a:lt2>
          <a:srgbClr val="C41230"/>
        </a:lt2>
        <a:accent1>
          <a:srgbClr val="FDB913"/>
        </a:accent1>
        <a:accent2>
          <a:srgbClr val="5F5F5F"/>
        </a:accent2>
        <a:accent3>
          <a:srgbClr val="AAB5C2"/>
        </a:accent3>
        <a:accent4>
          <a:srgbClr val="C25E18"/>
        </a:accent4>
        <a:accent5>
          <a:srgbClr val="FED9AA"/>
        </a:accent5>
        <a:accent6>
          <a:srgbClr val="555555"/>
        </a:accent6>
        <a:hlink>
          <a:srgbClr val="00A4E4"/>
        </a:hlink>
        <a:folHlink>
          <a:srgbClr val="C4123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IG Template 4">
        <a:dk1>
          <a:srgbClr val="78A22F"/>
        </a:dk1>
        <a:lt1>
          <a:srgbClr val="E36F1E"/>
        </a:lt1>
        <a:dk2>
          <a:srgbClr val="005984"/>
        </a:dk2>
        <a:lt2>
          <a:srgbClr val="C41230"/>
        </a:lt2>
        <a:accent1>
          <a:srgbClr val="FDB913"/>
        </a:accent1>
        <a:accent2>
          <a:srgbClr val="5F5F5F"/>
        </a:accent2>
        <a:accent3>
          <a:srgbClr val="AAB5C2"/>
        </a:accent3>
        <a:accent4>
          <a:srgbClr val="C25E18"/>
        </a:accent4>
        <a:accent5>
          <a:srgbClr val="FED9AA"/>
        </a:accent5>
        <a:accent6>
          <a:srgbClr val="555555"/>
        </a:accent6>
        <a:hlink>
          <a:srgbClr val="00A4E4"/>
        </a:hlink>
        <a:folHlink>
          <a:srgbClr val="00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IG Template 5">
        <a:dk1>
          <a:srgbClr val="000000"/>
        </a:dk1>
        <a:lt1>
          <a:srgbClr val="00A4E4"/>
        </a:lt1>
        <a:dk2>
          <a:srgbClr val="5F5F5F"/>
        </a:dk2>
        <a:lt2>
          <a:srgbClr val="FDB913"/>
        </a:lt2>
        <a:accent1>
          <a:srgbClr val="005984"/>
        </a:accent1>
        <a:accent2>
          <a:srgbClr val="E36F1E"/>
        </a:accent2>
        <a:accent3>
          <a:srgbClr val="AACFEF"/>
        </a:accent3>
        <a:accent4>
          <a:srgbClr val="000000"/>
        </a:accent4>
        <a:accent5>
          <a:srgbClr val="AAB5C2"/>
        </a:accent5>
        <a:accent6>
          <a:srgbClr val="CE641A"/>
        </a:accent6>
        <a:hlink>
          <a:srgbClr val="78A22F"/>
        </a:hlink>
        <a:folHlink>
          <a:srgbClr val="C4123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G Template 6">
        <a:dk1>
          <a:srgbClr val="000000"/>
        </a:dk1>
        <a:lt1>
          <a:srgbClr val="00A4E4"/>
        </a:lt1>
        <a:dk2>
          <a:srgbClr val="5F5F5F"/>
        </a:dk2>
        <a:lt2>
          <a:srgbClr val="FDB913"/>
        </a:lt2>
        <a:accent1>
          <a:srgbClr val="0073AE"/>
        </a:accent1>
        <a:accent2>
          <a:srgbClr val="E36F1E"/>
        </a:accent2>
        <a:accent3>
          <a:srgbClr val="AACFEF"/>
        </a:accent3>
        <a:accent4>
          <a:srgbClr val="000000"/>
        </a:accent4>
        <a:accent5>
          <a:srgbClr val="AABCD3"/>
        </a:accent5>
        <a:accent6>
          <a:srgbClr val="CE641A"/>
        </a:accent6>
        <a:hlink>
          <a:srgbClr val="78A22F"/>
        </a:hlink>
        <a:folHlink>
          <a:srgbClr val="C412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13_AIG_Presentation_Template_0513">
  <a:themeElements>
    <a:clrScheme name="AIG Template 6">
      <a:dk1>
        <a:srgbClr val="000000"/>
      </a:dk1>
      <a:lt1>
        <a:srgbClr val="00A4E4"/>
      </a:lt1>
      <a:dk2>
        <a:srgbClr val="5F5F5F"/>
      </a:dk2>
      <a:lt2>
        <a:srgbClr val="FDB913"/>
      </a:lt2>
      <a:accent1>
        <a:srgbClr val="0073AE"/>
      </a:accent1>
      <a:accent2>
        <a:srgbClr val="E36F1E"/>
      </a:accent2>
      <a:accent3>
        <a:srgbClr val="AACFEF"/>
      </a:accent3>
      <a:accent4>
        <a:srgbClr val="000000"/>
      </a:accent4>
      <a:accent5>
        <a:srgbClr val="AABCD3"/>
      </a:accent5>
      <a:accent6>
        <a:srgbClr val="CE641A"/>
      </a:accent6>
      <a:hlink>
        <a:srgbClr val="78A22F"/>
      </a:hlink>
      <a:folHlink>
        <a:srgbClr val="C41230"/>
      </a:folHlink>
    </a:clrScheme>
    <a:fontScheme name="AIG Template">
      <a:majorFont>
        <a:latin typeface="Arial"/>
        <a:ea typeface="ＭＳ Ｐゴシック"/>
        <a:cs typeface="Arial"/>
      </a:majorFont>
      <a:minorFont>
        <a:latin typeface="Arial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IG Template 1">
        <a:dk1>
          <a:srgbClr val="005984"/>
        </a:dk1>
        <a:lt1>
          <a:srgbClr val="00A4E4"/>
        </a:lt1>
        <a:dk2>
          <a:srgbClr val="78A22F"/>
        </a:dk2>
        <a:lt2>
          <a:srgbClr val="E36F1E"/>
        </a:lt2>
        <a:accent1>
          <a:srgbClr val="C41230"/>
        </a:accent1>
        <a:accent2>
          <a:srgbClr val="FDB913"/>
        </a:accent2>
        <a:accent3>
          <a:srgbClr val="AACFEF"/>
        </a:accent3>
        <a:accent4>
          <a:srgbClr val="004B70"/>
        </a:accent4>
        <a:accent5>
          <a:srgbClr val="DEAAAD"/>
        </a:accent5>
        <a:accent6>
          <a:srgbClr val="E5A710"/>
        </a:accent6>
        <a:hlink>
          <a:srgbClr val="AF006E"/>
        </a:hlink>
        <a:folHlink>
          <a:srgbClr val="5F5F5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G Template 2">
        <a:dk1>
          <a:srgbClr val="5F5F5F"/>
        </a:dk1>
        <a:lt1>
          <a:srgbClr val="FDB913"/>
        </a:lt1>
        <a:dk2>
          <a:srgbClr val="78A22F"/>
        </a:dk2>
        <a:lt2>
          <a:srgbClr val="E36F1E"/>
        </a:lt2>
        <a:accent1>
          <a:srgbClr val="005984"/>
        </a:accent1>
        <a:accent2>
          <a:srgbClr val="E36F1E"/>
        </a:accent2>
        <a:accent3>
          <a:srgbClr val="FED9AA"/>
        </a:accent3>
        <a:accent4>
          <a:srgbClr val="505050"/>
        </a:accent4>
        <a:accent5>
          <a:srgbClr val="AAB5C2"/>
        </a:accent5>
        <a:accent6>
          <a:srgbClr val="CE641A"/>
        </a:accent6>
        <a:hlink>
          <a:srgbClr val="78A22F"/>
        </a:hlink>
        <a:folHlink>
          <a:srgbClr val="C4123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G Template 3">
        <a:dk1>
          <a:srgbClr val="78A22F"/>
        </a:dk1>
        <a:lt1>
          <a:srgbClr val="E36F1E"/>
        </a:lt1>
        <a:dk2>
          <a:srgbClr val="005984"/>
        </a:dk2>
        <a:lt2>
          <a:srgbClr val="C41230"/>
        </a:lt2>
        <a:accent1>
          <a:srgbClr val="FDB913"/>
        </a:accent1>
        <a:accent2>
          <a:srgbClr val="5F5F5F"/>
        </a:accent2>
        <a:accent3>
          <a:srgbClr val="AAB5C2"/>
        </a:accent3>
        <a:accent4>
          <a:srgbClr val="C25E18"/>
        </a:accent4>
        <a:accent5>
          <a:srgbClr val="FED9AA"/>
        </a:accent5>
        <a:accent6>
          <a:srgbClr val="555555"/>
        </a:accent6>
        <a:hlink>
          <a:srgbClr val="00A4E4"/>
        </a:hlink>
        <a:folHlink>
          <a:srgbClr val="C4123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IG Template 4">
        <a:dk1>
          <a:srgbClr val="78A22F"/>
        </a:dk1>
        <a:lt1>
          <a:srgbClr val="E36F1E"/>
        </a:lt1>
        <a:dk2>
          <a:srgbClr val="005984"/>
        </a:dk2>
        <a:lt2>
          <a:srgbClr val="C41230"/>
        </a:lt2>
        <a:accent1>
          <a:srgbClr val="FDB913"/>
        </a:accent1>
        <a:accent2>
          <a:srgbClr val="5F5F5F"/>
        </a:accent2>
        <a:accent3>
          <a:srgbClr val="AAB5C2"/>
        </a:accent3>
        <a:accent4>
          <a:srgbClr val="C25E18"/>
        </a:accent4>
        <a:accent5>
          <a:srgbClr val="FED9AA"/>
        </a:accent5>
        <a:accent6>
          <a:srgbClr val="555555"/>
        </a:accent6>
        <a:hlink>
          <a:srgbClr val="00A4E4"/>
        </a:hlink>
        <a:folHlink>
          <a:srgbClr val="00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IG Template 5">
        <a:dk1>
          <a:srgbClr val="000000"/>
        </a:dk1>
        <a:lt1>
          <a:srgbClr val="00A4E4"/>
        </a:lt1>
        <a:dk2>
          <a:srgbClr val="5F5F5F"/>
        </a:dk2>
        <a:lt2>
          <a:srgbClr val="FDB913"/>
        </a:lt2>
        <a:accent1>
          <a:srgbClr val="005984"/>
        </a:accent1>
        <a:accent2>
          <a:srgbClr val="E36F1E"/>
        </a:accent2>
        <a:accent3>
          <a:srgbClr val="AACFEF"/>
        </a:accent3>
        <a:accent4>
          <a:srgbClr val="000000"/>
        </a:accent4>
        <a:accent5>
          <a:srgbClr val="AAB5C2"/>
        </a:accent5>
        <a:accent6>
          <a:srgbClr val="CE641A"/>
        </a:accent6>
        <a:hlink>
          <a:srgbClr val="78A22F"/>
        </a:hlink>
        <a:folHlink>
          <a:srgbClr val="C4123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G Template 6">
        <a:dk1>
          <a:srgbClr val="000000"/>
        </a:dk1>
        <a:lt1>
          <a:srgbClr val="00A4E4"/>
        </a:lt1>
        <a:dk2>
          <a:srgbClr val="5F5F5F"/>
        </a:dk2>
        <a:lt2>
          <a:srgbClr val="FDB913"/>
        </a:lt2>
        <a:accent1>
          <a:srgbClr val="0073AE"/>
        </a:accent1>
        <a:accent2>
          <a:srgbClr val="E36F1E"/>
        </a:accent2>
        <a:accent3>
          <a:srgbClr val="AACFEF"/>
        </a:accent3>
        <a:accent4>
          <a:srgbClr val="000000"/>
        </a:accent4>
        <a:accent5>
          <a:srgbClr val="AABCD3"/>
        </a:accent5>
        <a:accent6>
          <a:srgbClr val="CE641A"/>
        </a:accent6>
        <a:hlink>
          <a:srgbClr val="78A22F"/>
        </a:hlink>
        <a:folHlink>
          <a:srgbClr val="C412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14_AIG_Presentation_Template_0513">
  <a:themeElements>
    <a:clrScheme name="AIG Template 6">
      <a:dk1>
        <a:srgbClr val="000000"/>
      </a:dk1>
      <a:lt1>
        <a:srgbClr val="00A4E4"/>
      </a:lt1>
      <a:dk2>
        <a:srgbClr val="5F5F5F"/>
      </a:dk2>
      <a:lt2>
        <a:srgbClr val="FDB913"/>
      </a:lt2>
      <a:accent1>
        <a:srgbClr val="0073AE"/>
      </a:accent1>
      <a:accent2>
        <a:srgbClr val="E36F1E"/>
      </a:accent2>
      <a:accent3>
        <a:srgbClr val="AACFEF"/>
      </a:accent3>
      <a:accent4>
        <a:srgbClr val="000000"/>
      </a:accent4>
      <a:accent5>
        <a:srgbClr val="AABCD3"/>
      </a:accent5>
      <a:accent6>
        <a:srgbClr val="CE641A"/>
      </a:accent6>
      <a:hlink>
        <a:srgbClr val="78A22F"/>
      </a:hlink>
      <a:folHlink>
        <a:srgbClr val="C41230"/>
      </a:folHlink>
    </a:clrScheme>
    <a:fontScheme name="AIG Template">
      <a:majorFont>
        <a:latin typeface="Arial"/>
        <a:ea typeface="ＭＳ Ｐゴシック"/>
        <a:cs typeface="Arial"/>
      </a:majorFont>
      <a:minorFont>
        <a:latin typeface="Arial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IG Template 1">
        <a:dk1>
          <a:srgbClr val="005984"/>
        </a:dk1>
        <a:lt1>
          <a:srgbClr val="00A4E4"/>
        </a:lt1>
        <a:dk2>
          <a:srgbClr val="78A22F"/>
        </a:dk2>
        <a:lt2>
          <a:srgbClr val="E36F1E"/>
        </a:lt2>
        <a:accent1>
          <a:srgbClr val="C41230"/>
        </a:accent1>
        <a:accent2>
          <a:srgbClr val="FDB913"/>
        </a:accent2>
        <a:accent3>
          <a:srgbClr val="AACFEF"/>
        </a:accent3>
        <a:accent4>
          <a:srgbClr val="004B70"/>
        </a:accent4>
        <a:accent5>
          <a:srgbClr val="DEAAAD"/>
        </a:accent5>
        <a:accent6>
          <a:srgbClr val="E5A710"/>
        </a:accent6>
        <a:hlink>
          <a:srgbClr val="AF006E"/>
        </a:hlink>
        <a:folHlink>
          <a:srgbClr val="5F5F5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G Template 2">
        <a:dk1>
          <a:srgbClr val="5F5F5F"/>
        </a:dk1>
        <a:lt1>
          <a:srgbClr val="FDB913"/>
        </a:lt1>
        <a:dk2>
          <a:srgbClr val="78A22F"/>
        </a:dk2>
        <a:lt2>
          <a:srgbClr val="E36F1E"/>
        </a:lt2>
        <a:accent1>
          <a:srgbClr val="005984"/>
        </a:accent1>
        <a:accent2>
          <a:srgbClr val="E36F1E"/>
        </a:accent2>
        <a:accent3>
          <a:srgbClr val="FED9AA"/>
        </a:accent3>
        <a:accent4>
          <a:srgbClr val="505050"/>
        </a:accent4>
        <a:accent5>
          <a:srgbClr val="AAB5C2"/>
        </a:accent5>
        <a:accent6>
          <a:srgbClr val="CE641A"/>
        </a:accent6>
        <a:hlink>
          <a:srgbClr val="78A22F"/>
        </a:hlink>
        <a:folHlink>
          <a:srgbClr val="C4123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G Template 3">
        <a:dk1>
          <a:srgbClr val="78A22F"/>
        </a:dk1>
        <a:lt1>
          <a:srgbClr val="E36F1E"/>
        </a:lt1>
        <a:dk2>
          <a:srgbClr val="005984"/>
        </a:dk2>
        <a:lt2>
          <a:srgbClr val="C41230"/>
        </a:lt2>
        <a:accent1>
          <a:srgbClr val="FDB913"/>
        </a:accent1>
        <a:accent2>
          <a:srgbClr val="5F5F5F"/>
        </a:accent2>
        <a:accent3>
          <a:srgbClr val="AAB5C2"/>
        </a:accent3>
        <a:accent4>
          <a:srgbClr val="C25E18"/>
        </a:accent4>
        <a:accent5>
          <a:srgbClr val="FED9AA"/>
        </a:accent5>
        <a:accent6>
          <a:srgbClr val="555555"/>
        </a:accent6>
        <a:hlink>
          <a:srgbClr val="00A4E4"/>
        </a:hlink>
        <a:folHlink>
          <a:srgbClr val="C4123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IG Template 4">
        <a:dk1>
          <a:srgbClr val="78A22F"/>
        </a:dk1>
        <a:lt1>
          <a:srgbClr val="E36F1E"/>
        </a:lt1>
        <a:dk2>
          <a:srgbClr val="005984"/>
        </a:dk2>
        <a:lt2>
          <a:srgbClr val="C41230"/>
        </a:lt2>
        <a:accent1>
          <a:srgbClr val="FDB913"/>
        </a:accent1>
        <a:accent2>
          <a:srgbClr val="5F5F5F"/>
        </a:accent2>
        <a:accent3>
          <a:srgbClr val="AAB5C2"/>
        </a:accent3>
        <a:accent4>
          <a:srgbClr val="C25E18"/>
        </a:accent4>
        <a:accent5>
          <a:srgbClr val="FED9AA"/>
        </a:accent5>
        <a:accent6>
          <a:srgbClr val="555555"/>
        </a:accent6>
        <a:hlink>
          <a:srgbClr val="00A4E4"/>
        </a:hlink>
        <a:folHlink>
          <a:srgbClr val="00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IG Template 5">
        <a:dk1>
          <a:srgbClr val="000000"/>
        </a:dk1>
        <a:lt1>
          <a:srgbClr val="00A4E4"/>
        </a:lt1>
        <a:dk2>
          <a:srgbClr val="5F5F5F"/>
        </a:dk2>
        <a:lt2>
          <a:srgbClr val="FDB913"/>
        </a:lt2>
        <a:accent1>
          <a:srgbClr val="005984"/>
        </a:accent1>
        <a:accent2>
          <a:srgbClr val="E36F1E"/>
        </a:accent2>
        <a:accent3>
          <a:srgbClr val="AACFEF"/>
        </a:accent3>
        <a:accent4>
          <a:srgbClr val="000000"/>
        </a:accent4>
        <a:accent5>
          <a:srgbClr val="AAB5C2"/>
        </a:accent5>
        <a:accent6>
          <a:srgbClr val="CE641A"/>
        </a:accent6>
        <a:hlink>
          <a:srgbClr val="78A22F"/>
        </a:hlink>
        <a:folHlink>
          <a:srgbClr val="C4123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G Template 6">
        <a:dk1>
          <a:srgbClr val="000000"/>
        </a:dk1>
        <a:lt1>
          <a:srgbClr val="00A4E4"/>
        </a:lt1>
        <a:dk2>
          <a:srgbClr val="5F5F5F"/>
        </a:dk2>
        <a:lt2>
          <a:srgbClr val="FDB913"/>
        </a:lt2>
        <a:accent1>
          <a:srgbClr val="0073AE"/>
        </a:accent1>
        <a:accent2>
          <a:srgbClr val="E36F1E"/>
        </a:accent2>
        <a:accent3>
          <a:srgbClr val="AACFEF"/>
        </a:accent3>
        <a:accent4>
          <a:srgbClr val="000000"/>
        </a:accent4>
        <a:accent5>
          <a:srgbClr val="AABCD3"/>
        </a:accent5>
        <a:accent6>
          <a:srgbClr val="CE641A"/>
        </a:accent6>
        <a:hlink>
          <a:srgbClr val="78A22F"/>
        </a:hlink>
        <a:folHlink>
          <a:srgbClr val="C412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15_AIG_Presentation_Template_0513">
  <a:themeElements>
    <a:clrScheme name="AIG Template 6">
      <a:dk1>
        <a:srgbClr val="000000"/>
      </a:dk1>
      <a:lt1>
        <a:srgbClr val="00A4E4"/>
      </a:lt1>
      <a:dk2>
        <a:srgbClr val="5F5F5F"/>
      </a:dk2>
      <a:lt2>
        <a:srgbClr val="FDB913"/>
      </a:lt2>
      <a:accent1>
        <a:srgbClr val="0073AE"/>
      </a:accent1>
      <a:accent2>
        <a:srgbClr val="E36F1E"/>
      </a:accent2>
      <a:accent3>
        <a:srgbClr val="AACFEF"/>
      </a:accent3>
      <a:accent4>
        <a:srgbClr val="000000"/>
      </a:accent4>
      <a:accent5>
        <a:srgbClr val="AABCD3"/>
      </a:accent5>
      <a:accent6>
        <a:srgbClr val="CE641A"/>
      </a:accent6>
      <a:hlink>
        <a:srgbClr val="78A22F"/>
      </a:hlink>
      <a:folHlink>
        <a:srgbClr val="C41230"/>
      </a:folHlink>
    </a:clrScheme>
    <a:fontScheme name="AIG Template">
      <a:majorFont>
        <a:latin typeface="Arial"/>
        <a:ea typeface="ＭＳ Ｐゴシック"/>
        <a:cs typeface="Arial"/>
      </a:majorFont>
      <a:minorFont>
        <a:latin typeface="Arial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IG Template 1">
        <a:dk1>
          <a:srgbClr val="005984"/>
        </a:dk1>
        <a:lt1>
          <a:srgbClr val="00A4E4"/>
        </a:lt1>
        <a:dk2>
          <a:srgbClr val="78A22F"/>
        </a:dk2>
        <a:lt2>
          <a:srgbClr val="E36F1E"/>
        </a:lt2>
        <a:accent1>
          <a:srgbClr val="C41230"/>
        </a:accent1>
        <a:accent2>
          <a:srgbClr val="FDB913"/>
        </a:accent2>
        <a:accent3>
          <a:srgbClr val="AACFEF"/>
        </a:accent3>
        <a:accent4>
          <a:srgbClr val="004B70"/>
        </a:accent4>
        <a:accent5>
          <a:srgbClr val="DEAAAD"/>
        </a:accent5>
        <a:accent6>
          <a:srgbClr val="E5A710"/>
        </a:accent6>
        <a:hlink>
          <a:srgbClr val="AF006E"/>
        </a:hlink>
        <a:folHlink>
          <a:srgbClr val="5F5F5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G Template 2">
        <a:dk1>
          <a:srgbClr val="5F5F5F"/>
        </a:dk1>
        <a:lt1>
          <a:srgbClr val="FDB913"/>
        </a:lt1>
        <a:dk2>
          <a:srgbClr val="78A22F"/>
        </a:dk2>
        <a:lt2>
          <a:srgbClr val="E36F1E"/>
        </a:lt2>
        <a:accent1>
          <a:srgbClr val="005984"/>
        </a:accent1>
        <a:accent2>
          <a:srgbClr val="E36F1E"/>
        </a:accent2>
        <a:accent3>
          <a:srgbClr val="FED9AA"/>
        </a:accent3>
        <a:accent4>
          <a:srgbClr val="505050"/>
        </a:accent4>
        <a:accent5>
          <a:srgbClr val="AAB5C2"/>
        </a:accent5>
        <a:accent6>
          <a:srgbClr val="CE641A"/>
        </a:accent6>
        <a:hlink>
          <a:srgbClr val="78A22F"/>
        </a:hlink>
        <a:folHlink>
          <a:srgbClr val="C4123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G Template 3">
        <a:dk1>
          <a:srgbClr val="78A22F"/>
        </a:dk1>
        <a:lt1>
          <a:srgbClr val="E36F1E"/>
        </a:lt1>
        <a:dk2>
          <a:srgbClr val="005984"/>
        </a:dk2>
        <a:lt2>
          <a:srgbClr val="C41230"/>
        </a:lt2>
        <a:accent1>
          <a:srgbClr val="FDB913"/>
        </a:accent1>
        <a:accent2>
          <a:srgbClr val="5F5F5F"/>
        </a:accent2>
        <a:accent3>
          <a:srgbClr val="AAB5C2"/>
        </a:accent3>
        <a:accent4>
          <a:srgbClr val="C25E18"/>
        </a:accent4>
        <a:accent5>
          <a:srgbClr val="FED9AA"/>
        </a:accent5>
        <a:accent6>
          <a:srgbClr val="555555"/>
        </a:accent6>
        <a:hlink>
          <a:srgbClr val="00A4E4"/>
        </a:hlink>
        <a:folHlink>
          <a:srgbClr val="C4123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IG Template 4">
        <a:dk1>
          <a:srgbClr val="78A22F"/>
        </a:dk1>
        <a:lt1>
          <a:srgbClr val="E36F1E"/>
        </a:lt1>
        <a:dk2>
          <a:srgbClr val="005984"/>
        </a:dk2>
        <a:lt2>
          <a:srgbClr val="C41230"/>
        </a:lt2>
        <a:accent1>
          <a:srgbClr val="FDB913"/>
        </a:accent1>
        <a:accent2>
          <a:srgbClr val="5F5F5F"/>
        </a:accent2>
        <a:accent3>
          <a:srgbClr val="AAB5C2"/>
        </a:accent3>
        <a:accent4>
          <a:srgbClr val="C25E18"/>
        </a:accent4>
        <a:accent5>
          <a:srgbClr val="FED9AA"/>
        </a:accent5>
        <a:accent6>
          <a:srgbClr val="555555"/>
        </a:accent6>
        <a:hlink>
          <a:srgbClr val="00A4E4"/>
        </a:hlink>
        <a:folHlink>
          <a:srgbClr val="00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IG Template 5">
        <a:dk1>
          <a:srgbClr val="000000"/>
        </a:dk1>
        <a:lt1>
          <a:srgbClr val="00A4E4"/>
        </a:lt1>
        <a:dk2>
          <a:srgbClr val="5F5F5F"/>
        </a:dk2>
        <a:lt2>
          <a:srgbClr val="FDB913"/>
        </a:lt2>
        <a:accent1>
          <a:srgbClr val="005984"/>
        </a:accent1>
        <a:accent2>
          <a:srgbClr val="E36F1E"/>
        </a:accent2>
        <a:accent3>
          <a:srgbClr val="AACFEF"/>
        </a:accent3>
        <a:accent4>
          <a:srgbClr val="000000"/>
        </a:accent4>
        <a:accent5>
          <a:srgbClr val="AAB5C2"/>
        </a:accent5>
        <a:accent6>
          <a:srgbClr val="CE641A"/>
        </a:accent6>
        <a:hlink>
          <a:srgbClr val="78A22F"/>
        </a:hlink>
        <a:folHlink>
          <a:srgbClr val="C4123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G Template 6">
        <a:dk1>
          <a:srgbClr val="000000"/>
        </a:dk1>
        <a:lt1>
          <a:srgbClr val="00A4E4"/>
        </a:lt1>
        <a:dk2>
          <a:srgbClr val="5F5F5F"/>
        </a:dk2>
        <a:lt2>
          <a:srgbClr val="FDB913"/>
        </a:lt2>
        <a:accent1>
          <a:srgbClr val="0073AE"/>
        </a:accent1>
        <a:accent2>
          <a:srgbClr val="E36F1E"/>
        </a:accent2>
        <a:accent3>
          <a:srgbClr val="AACFEF"/>
        </a:accent3>
        <a:accent4>
          <a:srgbClr val="000000"/>
        </a:accent4>
        <a:accent5>
          <a:srgbClr val="AABCD3"/>
        </a:accent5>
        <a:accent6>
          <a:srgbClr val="CE641A"/>
        </a:accent6>
        <a:hlink>
          <a:srgbClr val="78A22F"/>
        </a:hlink>
        <a:folHlink>
          <a:srgbClr val="C412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_AIG_Presentation_Template_0513">
  <a:themeElements>
    <a:clrScheme name="AIG Template 6">
      <a:dk1>
        <a:srgbClr val="000000"/>
      </a:dk1>
      <a:lt1>
        <a:srgbClr val="00A4E4"/>
      </a:lt1>
      <a:dk2>
        <a:srgbClr val="5F5F5F"/>
      </a:dk2>
      <a:lt2>
        <a:srgbClr val="FDB913"/>
      </a:lt2>
      <a:accent1>
        <a:srgbClr val="0073AE"/>
      </a:accent1>
      <a:accent2>
        <a:srgbClr val="E36F1E"/>
      </a:accent2>
      <a:accent3>
        <a:srgbClr val="AACFEF"/>
      </a:accent3>
      <a:accent4>
        <a:srgbClr val="000000"/>
      </a:accent4>
      <a:accent5>
        <a:srgbClr val="AABCD3"/>
      </a:accent5>
      <a:accent6>
        <a:srgbClr val="CE641A"/>
      </a:accent6>
      <a:hlink>
        <a:srgbClr val="78A22F"/>
      </a:hlink>
      <a:folHlink>
        <a:srgbClr val="C41230"/>
      </a:folHlink>
    </a:clrScheme>
    <a:fontScheme name="AIG Template">
      <a:majorFont>
        <a:latin typeface="Arial"/>
        <a:ea typeface="ＭＳ Ｐゴシック"/>
        <a:cs typeface="Arial"/>
      </a:majorFont>
      <a:minorFont>
        <a:latin typeface="Arial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IG Template 1">
        <a:dk1>
          <a:srgbClr val="005984"/>
        </a:dk1>
        <a:lt1>
          <a:srgbClr val="00A4E4"/>
        </a:lt1>
        <a:dk2>
          <a:srgbClr val="78A22F"/>
        </a:dk2>
        <a:lt2>
          <a:srgbClr val="E36F1E"/>
        </a:lt2>
        <a:accent1>
          <a:srgbClr val="C41230"/>
        </a:accent1>
        <a:accent2>
          <a:srgbClr val="FDB913"/>
        </a:accent2>
        <a:accent3>
          <a:srgbClr val="AACFEF"/>
        </a:accent3>
        <a:accent4>
          <a:srgbClr val="004B70"/>
        </a:accent4>
        <a:accent5>
          <a:srgbClr val="DEAAAD"/>
        </a:accent5>
        <a:accent6>
          <a:srgbClr val="E5A710"/>
        </a:accent6>
        <a:hlink>
          <a:srgbClr val="AF006E"/>
        </a:hlink>
        <a:folHlink>
          <a:srgbClr val="5F5F5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G Template 2">
        <a:dk1>
          <a:srgbClr val="5F5F5F"/>
        </a:dk1>
        <a:lt1>
          <a:srgbClr val="FDB913"/>
        </a:lt1>
        <a:dk2>
          <a:srgbClr val="78A22F"/>
        </a:dk2>
        <a:lt2>
          <a:srgbClr val="E36F1E"/>
        </a:lt2>
        <a:accent1>
          <a:srgbClr val="005984"/>
        </a:accent1>
        <a:accent2>
          <a:srgbClr val="E36F1E"/>
        </a:accent2>
        <a:accent3>
          <a:srgbClr val="FED9AA"/>
        </a:accent3>
        <a:accent4>
          <a:srgbClr val="505050"/>
        </a:accent4>
        <a:accent5>
          <a:srgbClr val="AAB5C2"/>
        </a:accent5>
        <a:accent6>
          <a:srgbClr val="CE641A"/>
        </a:accent6>
        <a:hlink>
          <a:srgbClr val="78A22F"/>
        </a:hlink>
        <a:folHlink>
          <a:srgbClr val="C4123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G Template 3">
        <a:dk1>
          <a:srgbClr val="78A22F"/>
        </a:dk1>
        <a:lt1>
          <a:srgbClr val="E36F1E"/>
        </a:lt1>
        <a:dk2>
          <a:srgbClr val="005984"/>
        </a:dk2>
        <a:lt2>
          <a:srgbClr val="C41230"/>
        </a:lt2>
        <a:accent1>
          <a:srgbClr val="FDB913"/>
        </a:accent1>
        <a:accent2>
          <a:srgbClr val="5F5F5F"/>
        </a:accent2>
        <a:accent3>
          <a:srgbClr val="AAB5C2"/>
        </a:accent3>
        <a:accent4>
          <a:srgbClr val="C25E18"/>
        </a:accent4>
        <a:accent5>
          <a:srgbClr val="FED9AA"/>
        </a:accent5>
        <a:accent6>
          <a:srgbClr val="555555"/>
        </a:accent6>
        <a:hlink>
          <a:srgbClr val="00A4E4"/>
        </a:hlink>
        <a:folHlink>
          <a:srgbClr val="C4123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IG Template 4">
        <a:dk1>
          <a:srgbClr val="78A22F"/>
        </a:dk1>
        <a:lt1>
          <a:srgbClr val="E36F1E"/>
        </a:lt1>
        <a:dk2>
          <a:srgbClr val="005984"/>
        </a:dk2>
        <a:lt2>
          <a:srgbClr val="C41230"/>
        </a:lt2>
        <a:accent1>
          <a:srgbClr val="FDB913"/>
        </a:accent1>
        <a:accent2>
          <a:srgbClr val="5F5F5F"/>
        </a:accent2>
        <a:accent3>
          <a:srgbClr val="AAB5C2"/>
        </a:accent3>
        <a:accent4>
          <a:srgbClr val="C25E18"/>
        </a:accent4>
        <a:accent5>
          <a:srgbClr val="FED9AA"/>
        </a:accent5>
        <a:accent6>
          <a:srgbClr val="555555"/>
        </a:accent6>
        <a:hlink>
          <a:srgbClr val="00A4E4"/>
        </a:hlink>
        <a:folHlink>
          <a:srgbClr val="00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IG Template 5">
        <a:dk1>
          <a:srgbClr val="000000"/>
        </a:dk1>
        <a:lt1>
          <a:srgbClr val="00A4E4"/>
        </a:lt1>
        <a:dk2>
          <a:srgbClr val="5F5F5F"/>
        </a:dk2>
        <a:lt2>
          <a:srgbClr val="FDB913"/>
        </a:lt2>
        <a:accent1>
          <a:srgbClr val="005984"/>
        </a:accent1>
        <a:accent2>
          <a:srgbClr val="E36F1E"/>
        </a:accent2>
        <a:accent3>
          <a:srgbClr val="AACFEF"/>
        </a:accent3>
        <a:accent4>
          <a:srgbClr val="000000"/>
        </a:accent4>
        <a:accent5>
          <a:srgbClr val="AAB5C2"/>
        </a:accent5>
        <a:accent6>
          <a:srgbClr val="CE641A"/>
        </a:accent6>
        <a:hlink>
          <a:srgbClr val="78A22F"/>
        </a:hlink>
        <a:folHlink>
          <a:srgbClr val="C4123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G Template 6">
        <a:dk1>
          <a:srgbClr val="000000"/>
        </a:dk1>
        <a:lt1>
          <a:srgbClr val="00A4E4"/>
        </a:lt1>
        <a:dk2>
          <a:srgbClr val="5F5F5F"/>
        </a:dk2>
        <a:lt2>
          <a:srgbClr val="FDB913"/>
        </a:lt2>
        <a:accent1>
          <a:srgbClr val="0073AE"/>
        </a:accent1>
        <a:accent2>
          <a:srgbClr val="E36F1E"/>
        </a:accent2>
        <a:accent3>
          <a:srgbClr val="AACFEF"/>
        </a:accent3>
        <a:accent4>
          <a:srgbClr val="000000"/>
        </a:accent4>
        <a:accent5>
          <a:srgbClr val="AABCD3"/>
        </a:accent5>
        <a:accent6>
          <a:srgbClr val="CE641A"/>
        </a:accent6>
        <a:hlink>
          <a:srgbClr val="78A22F"/>
        </a:hlink>
        <a:folHlink>
          <a:srgbClr val="C412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6_AIG_Presentation_Template_0513">
  <a:themeElements>
    <a:clrScheme name="AIG Template 6">
      <a:dk1>
        <a:srgbClr val="000000"/>
      </a:dk1>
      <a:lt1>
        <a:srgbClr val="00A4E4"/>
      </a:lt1>
      <a:dk2>
        <a:srgbClr val="5F5F5F"/>
      </a:dk2>
      <a:lt2>
        <a:srgbClr val="FDB913"/>
      </a:lt2>
      <a:accent1>
        <a:srgbClr val="0073AE"/>
      </a:accent1>
      <a:accent2>
        <a:srgbClr val="E36F1E"/>
      </a:accent2>
      <a:accent3>
        <a:srgbClr val="AACFEF"/>
      </a:accent3>
      <a:accent4>
        <a:srgbClr val="000000"/>
      </a:accent4>
      <a:accent5>
        <a:srgbClr val="AABCD3"/>
      </a:accent5>
      <a:accent6>
        <a:srgbClr val="CE641A"/>
      </a:accent6>
      <a:hlink>
        <a:srgbClr val="78A22F"/>
      </a:hlink>
      <a:folHlink>
        <a:srgbClr val="C41230"/>
      </a:folHlink>
    </a:clrScheme>
    <a:fontScheme name="AIG Template">
      <a:majorFont>
        <a:latin typeface="Arial"/>
        <a:ea typeface="ＭＳ Ｐゴシック"/>
        <a:cs typeface="Arial"/>
      </a:majorFont>
      <a:minorFont>
        <a:latin typeface="Arial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IG Template 1">
        <a:dk1>
          <a:srgbClr val="005984"/>
        </a:dk1>
        <a:lt1>
          <a:srgbClr val="00A4E4"/>
        </a:lt1>
        <a:dk2>
          <a:srgbClr val="78A22F"/>
        </a:dk2>
        <a:lt2>
          <a:srgbClr val="E36F1E"/>
        </a:lt2>
        <a:accent1>
          <a:srgbClr val="C41230"/>
        </a:accent1>
        <a:accent2>
          <a:srgbClr val="FDB913"/>
        </a:accent2>
        <a:accent3>
          <a:srgbClr val="AACFEF"/>
        </a:accent3>
        <a:accent4>
          <a:srgbClr val="004B70"/>
        </a:accent4>
        <a:accent5>
          <a:srgbClr val="DEAAAD"/>
        </a:accent5>
        <a:accent6>
          <a:srgbClr val="E5A710"/>
        </a:accent6>
        <a:hlink>
          <a:srgbClr val="AF006E"/>
        </a:hlink>
        <a:folHlink>
          <a:srgbClr val="5F5F5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G Template 2">
        <a:dk1>
          <a:srgbClr val="5F5F5F"/>
        </a:dk1>
        <a:lt1>
          <a:srgbClr val="FDB913"/>
        </a:lt1>
        <a:dk2>
          <a:srgbClr val="78A22F"/>
        </a:dk2>
        <a:lt2>
          <a:srgbClr val="E36F1E"/>
        </a:lt2>
        <a:accent1>
          <a:srgbClr val="005984"/>
        </a:accent1>
        <a:accent2>
          <a:srgbClr val="E36F1E"/>
        </a:accent2>
        <a:accent3>
          <a:srgbClr val="FED9AA"/>
        </a:accent3>
        <a:accent4>
          <a:srgbClr val="505050"/>
        </a:accent4>
        <a:accent5>
          <a:srgbClr val="AAB5C2"/>
        </a:accent5>
        <a:accent6>
          <a:srgbClr val="CE641A"/>
        </a:accent6>
        <a:hlink>
          <a:srgbClr val="78A22F"/>
        </a:hlink>
        <a:folHlink>
          <a:srgbClr val="C4123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G Template 3">
        <a:dk1>
          <a:srgbClr val="78A22F"/>
        </a:dk1>
        <a:lt1>
          <a:srgbClr val="E36F1E"/>
        </a:lt1>
        <a:dk2>
          <a:srgbClr val="005984"/>
        </a:dk2>
        <a:lt2>
          <a:srgbClr val="C41230"/>
        </a:lt2>
        <a:accent1>
          <a:srgbClr val="FDB913"/>
        </a:accent1>
        <a:accent2>
          <a:srgbClr val="5F5F5F"/>
        </a:accent2>
        <a:accent3>
          <a:srgbClr val="AAB5C2"/>
        </a:accent3>
        <a:accent4>
          <a:srgbClr val="C25E18"/>
        </a:accent4>
        <a:accent5>
          <a:srgbClr val="FED9AA"/>
        </a:accent5>
        <a:accent6>
          <a:srgbClr val="555555"/>
        </a:accent6>
        <a:hlink>
          <a:srgbClr val="00A4E4"/>
        </a:hlink>
        <a:folHlink>
          <a:srgbClr val="C4123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IG Template 4">
        <a:dk1>
          <a:srgbClr val="78A22F"/>
        </a:dk1>
        <a:lt1>
          <a:srgbClr val="E36F1E"/>
        </a:lt1>
        <a:dk2>
          <a:srgbClr val="005984"/>
        </a:dk2>
        <a:lt2>
          <a:srgbClr val="C41230"/>
        </a:lt2>
        <a:accent1>
          <a:srgbClr val="FDB913"/>
        </a:accent1>
        <a:accent2>
          <a:srgbClr val="5F5F5F"/>
        </a:accent2>
        <a:accent3>
          <a:srgbClr val="AAB5C2"/>
        </a:accent3>
        <a:accent4>
          <a:srgbClr val="C25E18"/>
        </a:accent4>
        <a:accent5>
          <a:srgbClr val="FED9AA"/>
        </a:accent5>
        <a:accent6>
          <a:srgbClr val="555555"/>
        </a:accent6>
        <a:hlink>
          <a:srgbClr val="00A4E4"/>
        </a:hlink>
        <a:folHlink>
          <a:srgbClr val="00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IG Template 5">
        <a:dk1>
          <a:srgbClr val="000000"/>
        </a:dk1>
        <a:lt1>
          <a:srgbClr val="00A4E4"/>
        </a:lt1>
        <a:dk2>
          <a:srgbClr val="5F5F5F"/>
        </a:dk2>
        <a:lt2>
          <a:srgbClr val="FDB913"/>
        </a:lt2>
        <a:accent1>
          <a:srgbClr val="005984"/>
        </a:accent1>
        <a:accent2>
          <a:srgbClr val="E36F1E"/>
        </a:accent2>
        <a:accent3>
          <a:srgbClr val="AACFEF"/>
        </a:accent3>
        <a:accent4>
          <a:srgbClr val="000000"/>
        </a:accent4>
        <a:accent5>
          <a:srgbClr val="AAB5C2"/>
        </a:accent5>
        <a:accent6>
          <a:srgbClr val="CE641A"/>
        </a:accent6>
        <a:hlink>
          <a:srgbClr val="78A22F"/>
        </a:hlink>
        <a:folHlink>
          <a:srgbClr val="C4123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G Template 6">
        <a:dk1>
          <a:srgbClr val="000000"/>
        </a:dk1>
        <a:lt1>
          <a:srgbClr val="00A4E4"/>
        </a:lt1>
        <a:dk2>
          <a:srgbClr val="5F5F5F"/>
        </a:dk2>
        <a:lt2>
          <a:srgbClr val="FDB913"/>
        </a:lt2>
        <a:accent1>
          <a:srgbClr val="0073AE"/>
        </a:accent1>
        <a:accent2>
          <a:srgbClr val="E36F1E"/>
        </a:accent2>
        <a:accent3>
          <a:srgbClr val="AACFEF"/>
        </a:accent3>
        <a:accent4>
          <a:srgbClr val="000000"/>
        </a:accent4>
        <a:accent5>
          <a:srgbClr val="AABCD3"/>
        </a:accent5>
        <a:accent6>
          <a:srgbClr val="CE641A"/>
        </a:accent6>
        <a:hlink>
          <a:srgbClr val="78A22F"/>
        </a:hlink>
        <a:folHlink>
          <a:srgbClr val="C412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7_AIG_Presentation_Template_0513">
  <a:themeElements>
    <a:clrScheme name="AIG Template 6">
      <a:dk1>
        <a:srgbClr val="000000"/>
      </a:dk1>
      <a:lt1>
        <a:srgbClr val="00A4E4"/>
      </a:lt1>
      <a:dk2>
        <a:srgbClr val="5F5F5F"/>
      </a:dk2>
      <a:lt2>
        <a:srgbClr val="FDB913"/>
      </a:lt2>
      <a:accent1>
        <a:srgbClr val="0073AE"/>
      </a:accent1>
      <a:accent2>
        <a:srgbClr val="E36F1E"/>
      </a:accent2>
      <a:accent3>
        <a:srgbClr val="AACFEF"/>
      </a:accent3>
      <a:accent4>
        <a:srgbClr val="000000"/>
      </a:accent4>
      <a:accent5>
        <a:srgbClr val="AABCD3"/>
      </a:accent5>
      <a:accent6>
        <a:srgbClr val="CE641A"/>
      </a:accent6>
      <a:hlink>
        <a:srgbClr val="78A22F"/>
      </a:hlink>
      <a:folHlink>
        <a:srgbClr val="C41230"/>
      </a:folHlink>
    </a:clrScheme>
    <a:fontScheme name="AIG Template">
      <a:majorFont>
        <a:latin typeface="Arial"/>
        <a:ea typeface="ＭＳ Ｐゴシック"/>
        <a:cs typeface="Arial"/>
      </a:majorFont>
      <a:minorFont>
        <a:latin typeface="Arial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IG Template 1">
        <a:dk1>
          <a:srgbClr val="005984"/>
        </a:dk1>
        <a:lt1>
          <a:srgbClr val="00A4E4"/>
        </a:lt1>
        <a:dk2>
          <a:srgbClr val="78A22F"/>
        </a:dk2>
        <a:lt2>
          <a:srgbClr val="E36F1E"/>
        </a:lt2>
        <a:accent1>
          <a:srgbClr val="C41230"/>
        </a:accent1>
        <a:accent2>
          <a:srgbClr val="FDB913"/>
        </a:accent2>
        <a:accent3>
          <a:srgbClr val="AACFEF"/>
        </a:accent3>
        <a:accent4>
          <a:srgbClr val="004B70"/>
        </a:accent4>
        <a:accent5>
          <a:srgbClr val="DEAAAD"/>
        </a:accent5>
        <a:accent6>
          <a:srgbClr val="E5A710"/>
        </a:accent6>
        <a:hlink>
          <a:srgbClr val="AF006E"/>
        </a:hlink>
        <a:folHlink>
          <a:srgbClr val="5F5F5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G Template 2">
        <a:dk1>
          <a:srgbClr val="5F5F5F"/>
        </a:dk1>
        <a:lt1>
          <a:srgbClr val="FDB913"/>
        </a:lt1>
        <a:dk2>
          <a:srgbClr val="78A22F"/>
        </a:dk2>
        <a:lt2>
          <a:srgbClr val="E36F1E"/>
        </a:lt2>
        <a:accent1>
          <a:srgbClr val="005984"/>
        </a:accent1>
        <a:accent2>
          <a:srgbClr val="E36F1E"/>
        </a:accent2>
        <a:accent3>
          <a:srgbClr val="FED9AA"/>
        </a:accent3>
        <a:accent4>
          <a:srgbClr val="505050"/>
        </a:accent4>
        <a:accent5>
          <a:srgbClr val="AAB5C2"/>
        </a:accent5>
        <a:accent6>
          <a:srgbClr val="CE641A"/>
        </a:accent6>
        <a:hlink>
          <a:srgbClr val="78A22F"/>
        </a:hlink>
        <a:folHlink>
          <a:srgbClr val="C4123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G Template 3">
        <a:dk1>
          <a:srgbClr val="78A22F"/>
        </a:dk1>
        <a:lt1>
          <a:srgbClr val="E36F1E"/>
        </a:lt1>
        <a:dk2>
          <a:srgbClr val="005984"/>
        </a:dk2>
        <a:lt2>
          <a:srgbClr val="C41230"/>
        </a:lt2>
        <a:accent1>
          <a:srgbClr val="FDB913"/>
        </a:accent1>
        <a:accent2>
          <a:srgbClr val="5F5F5F"/>
        </a:accent2>
        <a:accent3>
          <a:srgbClr val="AAB5C2"/>
        </a:accent3>
        <a:accent4>
          <a:srgbClr val="C25E18"/>
        </a:accent4>
        <a:accent5>
          <a:srgbClr val="FED9AA"/>
        </a:accent5>
        <a:accent6>
          <a:srgbClr val="555555"/>
        </a:accent6>
        <a:hlink>
          <a:srgbClr val="00A4E4"/>
        </a:hlink>
        <a:folHlink>
          <a:srgbClr val="C4123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IG Template 4">
        <a:dk1>
          <a:srgbClr val="78A22F"/>
        </a:dk1>
        <a:lt1>
          <a:srgbClr val="E36F1E"/>
        </a:lt1>
        <a:dk2>
          <a:srgbClr val="005984"/>
        </a:dk2>
        <a:lt2>
          <a:srgbClr val="C41230"/>
        </a:lt2>
        <a:accent1>
          <a:srgbClr val="FDB913"/>
        </a:accent1>
        <a:accent2>
          <a:srgbClr val="5F5F5F"/>
        </a:accent2>
        <a:accent3>
          <a:srgbClr val="AAB5C2"/>
        </a:accent3>
        <a:accent4>
          <a:srgbClr val="C25E18"/>
        </a:accent4>
        <a:accent5>
          <a:srgbClr val="FED9AA"/>
        </a:accent5>
        <a:accent6>
          <a:srgbClr val="555555"/>
        </a:accent6>
        <a:hlink>
          <a:srgbClr val="00A4E4"/>
        </a:hlink>
        <a:folHlink>
          <a:srgbClr val="00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IG Template 5">
        <a:dk1>
          <a:srgbClr val="000000"/>
        </a:dk1>
        <a:lt1>
          <a:srgbClr val="00A4E4"/>
        </a:lt1>
        <a:dk2>
          <a:srgbClr val="5F5F5F"/>
        </a:dk2>
        <a:lt2>
          <a:srgbClr val="FDB913"/>
        </a:lt2>
        <a:accent1>
          <a:srgbClr val="005984"/>
        </a:accent1>
        <a:accent2>
          <a:srgbClr val="E36F1E"/>
        </a:accent2>
        <a:accent3>
          <a:srgbClr val="AACFEF"/>
        </a:accent3>
        <a:accent4>
          <a:srgbClr val="000000"/>
        </a:accent4>
        <a:accent5>
          <a:srgbClr val="AAB5C2"/>
        </a:accent5>
        <a:accent6>
          <a:srgbClr val="CE641A"/>
        </a:accent6>
        <a:hlink>
          <a:srgbClr val="78A22F"/>
        </a:hlink>
        <a:folHlink>
          <a:srgbClr val="C4123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G Template 6">
        <a:dk1>
          <a:srgbClr val="000000"/>
        </a:dk1>
        <a:lt1>
          <a:srgbClr val="00A4E4"/>
        </a:lt1>
        <a:dk2>
          <a:srgbClr val="5F5F5F"/>
        </a:dk2>
        <a:lt2>
          <a:srgbClr val="FDB913"/>
        </a:lt2>
        <a:accent1>
          <a:srgbClr val="0073AE"/>
        </a:accent1>
        <a:accent2>
          <a:srgbClr val="E36F1E"/>
        </a:accent2>
        <a:accent3>
          <a:srgbClr val="AACFEF"/>
        </a:accent3>
        <a:accent4>
          <a:srgbClr val="000000"/>
        </a:accent4>
        <a:accent5>
          <a:srgbClr val="AABCD3"/>
        </a:accent5>
        <a:accent6>
          <a:srgbClr val="CE641A"/>
        </a:accent6>
        <a:hlink>
          <a:srgbClr val="78A22F"/>
        </a:hlink>
        <a:folHlink>
          <a:srgbClr val="C412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6_U S  Consulting Report Template_022307 (2)">
  <a:themeElements>
    <a:clrScheme name="">
      <a:dk1>
        <a:srgbClr val="000000"/>
      </a:dk1>
      <a:lt1>
        <a:srgbClr val="FFFFFF"/>
      </a:lt1>
      <a:dk2>
        <a:srgbClr val="99CC00"/>
      </a:dk2>
      <a:lt2>
        <a:srgbClr val="009999"/>
      </a:lt2>
      <a:accent1>
        <a:srgbClr val="003399"/>
      </a:accent1>
      <a:accent2>
        <a:srgbClr val="8099CC"/>
      </a:accent2>
      <a:accent3>
        <a:srgbClr val="FFFFFF"/>
      </a:accent3>
      <a:accent4>
        <a:srgbClr val="000000"/>
      </a:accent4>
      <a:accent5>
        <a:srgbClr val="AAADCA"/>
      </a:accent5>
      <a:accent6>
        <a:srgbClr val="738AB9"/>
      </a:accent6>
      <a:hlink>
        <a:srgbClr val="80CCCC"/>
      </a:hlink>
      <a:folHlink>
        <a:srgbClr val="4066B2"/>
      </a:folHlink>
    </a:clrScheme>
    <a:fontScheme name="U S  Consulting Report Template_022307 (2)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 algn="ctr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rot="0" spcFirstLastPara="0" vertOverflow="overflow" horzOverflow="overflow" vert="horz" wrap="square" lIns="45720" tIns="45720" rIns="4572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119063" indent="-119063">
          <a:spcBef>
            <a:spcPct val="25000"/>
          </a:spcBef>
          <a:buClr>
            <a:srgbClr val="000000"/>
          </a:buClr>
          <a:buFont typeface="Wingdings" pitchFamily="2" charset="2"/>
          <a:buChar char="§"/>
          <a:defRPr sz="1000" b="0" dirty="0" err="1" smtClean="0">
            <a:solidFill>
              <a:srgbClr val="000000"/>
            </a:solidFill>
          </a:defRPr>
        </a:defPPr>
      </a:lstStyle>
    </a:spDef>
    <a:lnDef>
      <a:spPr bwMode="auto">
        <a:solidFill>
          <a:schemeClr val="accent2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U S  Consulting Report Template_022307 (2)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 S  Consulting Report Template_022307 (2)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 S  Consulting Report Template_022307 (2)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 S  Consulting Report Template_022307 (2)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 S  Consulting Report Template_022307 (2)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 S  Consulting Report Template_022307 (2)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 S  Consulting Report Template_022307 (2)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 S  Consulting Report Template_022307 (2) 8">
        <a:dk1>
          <a:srgbClr val="000000"/>
        </a:dk1>
        <a:lt1>
          <a:srgbClr val="FFFFFF"/>
        </a:lt1>
        <a:dk2>
          <a:srgbClr val="B2CADB"/>
        </a:dk2>
        <a:lt2>
          <a:srgbClr val="1D3A6A"/>
        </a:lt2>
        <a:accent1>
          <a:srgbClr val="DED3B6"/>
        </a:accent1>
        <a:accent2>
          <a:srgbClr val="EAB58E"/>
        </a:accent2>
        <a:accent3>
          <a:srgbClr val="FFFFFF"/>
        </a:accent3>
        <a:accent4>
          <a:srgbClr val="000000"/>
        </a:accent4>
        <a:accent5>
          <a:srgbClr val="ECE6D7"/>
        </a:accent5>
        <a:accent6>
          <a:srgbClr val="D4A480"/>
        </a:accent6>
        <a:hlink>
          <a:srgbClr val="F5DDCB"/>
        </a:hlink>
        <a:folHlink>
          <a:srgbClr val="FEF2D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 S  Consulting Report Template_022307 (2) 9">
        <a:dk1>
          <a:srgbClr val="000000"/>
        </a:dk1>
        <a:lt1>
          <a:srgbClr val="FFFFFF"/>
        </a:lt1>
        <a:dk2>
          <a:srgbClr val="FEF2D2"/>
        </a:dk2>
        <a:lt2>
          <a:srgbClr val="1D3A6A"/>
        </a:lt2>
        <a:accent1>
          <a:srgbClr val="B2CADB"/>
        </a:accent1>
        <a:accent2>
          <a:srgbClr val="DED3B6"/>
        </a:accent2>
        <a:accent3>
          <a:srgbClr val="FFFFFF"/>
        </a:accent3>
        <a:accent4>
          <a:srgbClr val="000000"/>
        </a:accent4>
        <a:accent5>
          <a:srgbClr val="D5E1EA"/>
        </a:accent5>
        <a:accent6>
          <a:srgbClr val="C9BFA5"/>
        </a:accent6>
        <a:hlink>
          <a:srgbClr val="EAB58E"/>
        </a:hlink>
        <a:folHlink>
          <a:srgbClr val="F5DDC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 S  Consulting Report Template_022307 (2) 10">
        <a:dk1>
          <a:srgbClr val="000000"/>
        </a:dk1>
        <a:lt1>
          <a:srgbClr val="FFFFFF"/>
        </a:lt1>
        <a:dk2>
          <a:srgbClr val="F1EDE1"/>
        </a:dk2>
        <a:lt2>
          <a:srgbClr val="091D5D"/>
        </a:lt2>
        <a:accent1>
          <a:srgbClr val="9DA5BE"/>
        </a:accent1>
        <a:accent2>
          <a:srgbClr val="85C2FE"/>
        </a:accent2>
        <a:accent3>
          <a:srgbClr val="FFFFFF"/>
        </a:accent3>
        <a:accent4>
          <a:srgbClr val="000000"/>
        </a:accent4>
        <a:accent5>
          <a:srgbClr val="CCCFDB"/>
        </a:accent5>
        <a:accent6>
          <a:srgbClr val="78B0E6"/>
        </a:accent6>
        <a:hlink>
          <a:srgbClr val="ADD6FF"/>
        </a:hlink>
        <a:folHlink>
          <a:srgbClr val="D6EB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 S  Consulting Report Template_022307 (2) 11">
        <a:dk1>
          <a:srgbClr val="AFAFAF"/>
        </a:dk1>
        <a:lt1>
          <a:srgbClr val="FFFFFF"/>
        </a:lt1>
        <a:dk2>
          <a:srgbClr val="F1EDE1"/>
        </a:dk2>
        <a:lt2>
          <a:srgbClr val="091D5D"/>
        </a:lt2>
        <a:accent1>
          <a:srgbClr val="85C2FE"/>
        </a:accent1>
        <a:accent2>
          <a:srgbClr val="ADD6FF"/>
        </a:accent2>
        <a:accent3>
          <a:srgbClr val="FFFFFF"/>
        </a:accent3>
        <a:accent4>
          <a:srgbClr val="959595"/>
        </a:accent4>
        <a:accent5>
          <a:srgbClr val="C2DDFE"/>
        </a:accent5>
        <a:accent6>
          <a:srgbClr val="9CC2E7"/>
        </a:accent6>
        <a:hlink>
          <a:srgbClr val="C6C1D6"/>
        </a:hlink>
        <a:folHlink>
          <a:srgbClr val="F1EDE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 S  Consulting Report Template_022307 (2) 12">
        <a:dk1>
          <a:srgbClr val="000000"/>
        </a:dk1>
        <a:lt1>
          <a:srgbClr val="FFFFFF"/>
        </a:lt1>
        <a:dk2>
          <a:srgbClr val="F1EDE1"/>
        </a:dk2>
        <a:lt2>
          <a:srgbClr val="091D5D"/>
        </a:lt2>
        <a:accent1>
          <a:srgbClr val="85C2FE"/>
        </a:accent1>
        <a:accent2>
          <a:srgbClr val="ADD6FF"/>
        </a:accent2>
        <a:accent3>
          <a:srgbClr val="FFFFFF"/>
        </a:accent3>
        <a:accent4>
          <a:srgbClr val="000000"/>
        </a:accent4>
        <a:accent5>
          <a:srgbClr val="C2DDFE"/>
        </a:accent5>
        <a:accent6>
          <a:srgbClr val="9CC2E7"/>
        </a:accent6>
        <a:hlink>
          <a:srgbClr val="C6C1D6"/>
        </a:hlink>
        <a:folHlink>
          <a:srgbClr val="F1EDE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 S  Consulting Report Template_022307 (2) 13">
        <a:dk1>
          <a:srgbClr val="000000"/>
        </a:dk1>
        <a:lt1>
          <a:srgbClr val="FFFFFF"/>
        </a:lt1>
        <a:dk2>
          <a:srgbClr val="F1EDE1"/>
        </a:dk2>
        <a:lt2>
          <a:srgbClr val="091D5D"/>
        </a:lt2>
        <a:accent1>
          <a:srgbClr val="85C2FE"/>
        </a:accent1>
        <a:accent2>
          <a:srgbClr val="ADD6FF"/>
        </a:accent2>
        <a:accent3>
          <a:srgbClr val="FFFFFF"/>
        </a:accent3>
        <a:accent4>
          <a:srgbClr val="000000"/>
        </a:accent4>
        <a:accent5>
          <a:srgbClr val="C2DDFE"/>
        </a:accent5>
        <a:accent6>
          <a:srgbClr val="9CC2E7"/>
        </a:accent6>
        <a:hlink>
          <a:srgbClr val="C6C1D6"/>
        </a:hlink>
        <a:folHlink>
          <a:srgbClr val="D6EB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 S  Consulting Report Template_022307 (2) 14">
        <a:dk1>
          <a:srgbClr val="000000"/>
        </a:dk1>
        <a:lt1>
          <a:srgbClr val="FFFFFF"/>
        </a:lt1>
        <a:dk2>
          <a:srgbClr val="CCD6EB"/>
        </a:dk2>
        <a:lt2>
          <a:srgbClr val="000066"/>
        </a:lt2>
        <a:accent1>
          <a:srgbClr val="40B3B3"/>
        </a:accent1>
        <a:accent2>
          <a:srgbClr val="B2C1E0"/>
        </a:accent2>
        <a:accent3>
          <a:srgbClr val="FFFFFF"/>
        </a:accent3>
        <a:accent4>
          <a:srgbClr val="000000"/>
        </a:accent4>
        <a:accent5>
          <a:srgbClr val="AFD6D6"/>
        </a:accent5>
        <a:accent6>
          <a:srgbClr val="A1AFCB"/>
        </a:accent6>
        <a:hlink>
          <a:srgbClr val="66C2C2"/>
        </a:hlink>
        <a:folHlink>
          <a:srgbClr val="8CA3D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 S  Consulting Report Template_022307 (2) 15">
        <a:dk1>
          <a:srgbClr val="000000"/>
        </a:dk1>
        <a:lt1>
          <a:srgbClr val="FFFFFF"/>
        </a:lt1>
        <a:dk2>
          <a:srgbClr val="4066B2"/>
        </a:dk2>
        <a:lt2>
          <a:srgbClr val="000066"/>
        </a:lt2>
        <a:accent1>
          <a:srgbClr val="003399"/>
        </a:accent1>
        <a:accent2>
          <a:srgbClr val="80CCCC"/>
        </a:accent2>
        <a:accent3>
          <a:srgbClr val="FFFFFF"/>
        </a:accent3>
        <a:accent4>
          <a:srgbClr val="000000"/>
        </a:accent4>
        <a:accent5>
          <a:srgbClr val="AAADCA"/>
        </a:accent5>
        <a:accent6>
          <a:srgbClr val="73B9B9"/>
        </a:accent6>
        <a:hlink>
          <a:srgbClr val="8099CC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 S  Consulting Report Template_022307 (2) 16">
        <a:dk1>
          <a:srgbClr val="000000"/>
        </a:dk1>
        <a:lt1>
          <a:srgbClr val="FFFFFF"/>
        </a:lt1>
        <a:dk2>
          <a:srgbClr val="4066B2"/>
        </a:dk2>
        <a:lt2>
          <a:srgbClr val="000066"/>
        </a:lt2>
        <a:accent1>
          <a:srgbClr val="003399"/>
        </a:accent1>
        <a:accent2>
          <a:srgbClr val="8099CC"/>
        </a:accent2>
        <a:accent3>
          <a:srgbClr val="FFFFFF"/>
        </a:accent3>
        <a:accent4>
          <a:srgbClr val="000000"/>
        </a:accent4>
        <a:accent5>
          <a:srgbClr val="AAADCA"/>
        </a:accent5>
        <a:accent6>
          <a:srgbClr val="738AB9"/>
        </a:accent6>
        <a:hlink>
          <a:srgbClr val="80CCCC"/>
        </a:hlink>
        <a:folHlink>
          <a:srgbClr val="4066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4_AIG_Presentation_Template_0513">
  <a:themeElements>
    <a:clrScheme name="AIG Template 6">
      <a:dk1>
        <a:srgbClr val="000000"/>
      </a:dk1>
      <a:lt1>
        <a:srgbClr val="00A4E4"/>
      </a:lt1>
      <a:dk2>
        <a:srgbClr val="5F5F5F"/>
      </a:dk2>
      <a:lt2>
        <a:srgbClr val="FDB913"/>
      </a:lt2>
      <a:accent1>
        <a:srgbClr val="0073AE"/>
      </a:accent1>
      <a:accent2>
        <a:srgbClr val="E36F1E"/>
      </a:accent2>
      <a:accent3>
        <a:srgbClr val="AACFEF"/>
      </a:accent3>
      <a:accent4>
        <a:srgbClr val="000000"/>
      </a:accent4>
      <a:accent5>
        <a:srgbClr val="AABCD3"/>
      </a:accent5>
      <a:accent6>
        <a:srgbClr val="CE641A"/>
      </a:accent6>
      <a:hlink>
        <a:srgbClr val="78A22F"/>
      </a:hlink>
      <a:folHlink>
        <a:srgbClr val="C41230"/>
      </a:folHlink>
    </a:clrScheme>
    <a:fontScheme name="AIG Template">
      <a:majorFont>
        <a:latin typeface="Arial"/>
        <a:ea typeface="ＭＳ Ｐゴシック"/>
        <a:cs typeface="Arial"/>
      </a:majorFont>
      <a:minorFont>
        <a:latin typeface="Arial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 bwMode="black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none" lIns="0" tIns="0" rIns="0" bIns="0" numCol="1" anchor="t" anchorCtr="0" compatLnSpc="1">
        <a:prstTxWarp prst="textNoShape">
          <a:avLst/>
        </a:prstTxWarp>
      </a:bodyPr>
      <a:lstStyle>
        <a:defPPr>
          <a:defRPr sz="1400" kern="0" dirty="0" smtClean="0">
            <a:solidFill>
              <a:schemeClr val="tx2"/>
            </a:solidFill>
          </a:defRPr>
        </a:defPPr>
      </a:lstStyle>
    </a:txDef>
  </a:objectDefaults>
  <a:extraClrSchemeLst>
    <a:extraClrScheme>
      <a:clrScheme name="AIG Template 1">
        <a:dk1>
          <a:srgbClr val="005984"/>
        </a:dk1>
        <a:lt1>
          <a:srgbClr val="00A4E4"/>
        </a:lt1>
        <a:dk2>
          <a:srgbClr val="78A22F"/>
        </a:dk2>
        <a:lt2>
          <a:srgbClr val="E36F1E"/>
        </a:lt2>
        <a:accent1>
          <a:srgbClr val="C41230"/>
        </a:accent1>
        <a:accent2>
          <a:srgbClr val="FDB913"/>
        </a:accent2>
        <a:accent3>
          <a:srgbClr val="AACFEF"/>
        </a:accent3>
        <a:accent4>
          <a:srgbClr val="004B70"/>
        </a:accent4>
        <a:accent5>
          <a:srgbClr val="DEAAAD"/>
        </a:accent5>
        <a:accent6>
          <a:srgbClr val="E5A710"/>
        </a:accent6>
        <a:hlink>
          <a:srgbClr val="AF006E"/>
        </a:hlink>
        <a:folHlink>
          <a:srgbClr val="5F5F5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G Template 2">
        <a:dk1>
          <a:srgbClr val="5F5F5F"/>
        </a:dk1>
        <a:lt1>
          <a:srgbClr val="FDB913"/>
        </a:lt1>
        <a:dk2>
          <a:srgbClr val="78A22F"/>
        </a:dk2>
        <a:lt2>
          <a:srgbClr val="E36F1E"/>
        </a:lt2>
        <a:accent1>
          <a:srgbClr val="005984"/>
        </a:accent1>
        <a:accent2>
          <a:srgbClr val="E36F1E"/>
        </a:accent2>
        <a:accent3>
          <a:srgbClr val="FED9AA"/>
        </a:accent3>
        <a:accent4>
          <a:srgbClr val="505050"/>
        </a:accent4>
        <a:accent5>
          <a:srgbClr val="AAB5C2"/>
        </a:accent5>
        <a:accent6>
          <a:srgbClr val="CE641A"/>
        </a:accent6>
        <a:hlink>
          <a:srgbClr val="78A22F"/>
        </a:hlink>
        <a:folHlink>
          <a:srgbClr val="C4123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G Template 3">
        <a:dk1>
          <a:srgbClr val="78A22F"/>
        </a:dk1>
        <a:lt1>
          <a:srgbClr val="E36F1E"/>
        </a:lt1>
        <a:dk2>
          <a:srgbClr val="005984"/>
        </a:dk2>
        <a:lt2>
          <a:srgbClr val="C41230"/>
        </a:lt2>
        <a:accent1>
          <a:srgbClr val="FDB913"/>
        </a:accent1>
        <a:accent2>
          <a:srgbClr val="5F5F5F"/>
        </a:accent2>
        <a:accent3>
          <a:srgbClr val="AAB5C2"/>
        </a:accent3>
        <a:accent4>
          <a:srgbClr val="C25E18"/>
        </a:accent4>
        <a:accent5>
          <a:srgbClr val="FED9AA"/>
        </a:accent5>
        <a:accent6>
          <a:srgbClr val="555555"/>
        </a:accent6>
        <a:hlink>
          <a:srgbClr val="00A4E4"/>
        </a:hlink>
        <a:folHlink>
          <a:srgbClr val="C4123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IG Template 4">
        <a:dk1>
          <a:srgbClr val="78A22F"/>
        </a:dk1>
        <a:lt1>
          <a:srgbClr val="E36F1E"/>
        </a:lt1>
        <a:dk2>
          <a:srgbClr val="005984"/>
        </a:dk2>
        <a:lt2>
          <a:srgbClr val="C41230"/>
        </a:lt2>
        <a:accent1>
          <a:srgbClr val="FDB913"/>
        </a:accent1>
        <a:accent2>
          <a:srgbClr val="5F5F5F"/>
        </a:accent2>
        <a:accent3>
          <a:srgbClr val="AAB5C2"/>
        </a:accent3>
        <a:accent4>
          <a:srgbClr val="C25E18"/>
        </a:accent4>
        <a:accent5>
          <a:srgbClr val="FED9AA"/>
        </a:accent5>
        <a:accent6>
          <a:srgbClr val="555555"/>
        </a:accent6>
        <a:hlink>
          <a:srgbClr val="00A4E4"/>
        </a:hlink>
        <a:folHlink>
          <a:srgbClr val="00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IG Template 5">
        <a:dk1>
          <a:srgbClr val="000000"/>
        </a:dk1>
        <a:lt1>
          <a:srgbClr val="00A4E4"/>
        </a:lt1>
        <a:dk2>
          <a:srgbClr val="5F5F5F"/>
        </a:dk2>
        <a:lt2>
          <a:srgbClr val="FDB913"/>
        </a:lt2>
        <a:accent1>
          <a:srgbClr val="005984"/>
        </a:accent1>
        <a:accent2>
          <a:srgbClr val="E36F1E"/>
        </a:accent2>
        <a:accent3>
          <a:srgbClr val="AACFEF"/>
        </a:accent3>
        <a:accent4>
          <a:srgbClr val="000000"/>
        </a:accent4>
        <a:accent5>
          <a:srgbClr val="AAB5C2"/>
        </a:accent5>
        <a:accent6>
          <a:srgbClr val="CE641A"/>
        </a:accent6>
        <a:hlink>
          <a:srgbClr val="78A22F"/>
        </a:hlink>
        <a:folHlink>
          <a:srgbClr val="C4123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G Template 6">
        <a:dk1>
          <a:srgbClr val="000000"/>
        </a:dk1>
        <a:lt1>
          <a:srgbClr val="00A4E4"/>
        </a:lt1>
        <a:dk2>
          <a:srgbClr val="5F5F5F"/>
        </a:dk2>
        <a:lt2>
          <a:srgbClr val="FDB913"/>
        </a:lt2>
        <a:accent1>
          <a:srgbClr val="0073AE"/>
        </a:accent1>
        <a:accent2>
          <a:srgbClr val="E36F1E"/>
        </a:accent2>
        <a:accent3>
          <a:srgbClr val="AACFEF"/>
        </a:accent3>
        <a:accent4>
          <a:srgbClr val="000000"/>
        </a:accent4>
        <a:accent5>
          <a:srgbClr val="AABCD3"/>
        </a:accent5>
        <a:accent6>
          <a:srgbClr val="CE641A"/>
        </a:accent6>
        <a:hlink>
          <a:srgbClr val="78A22F"/>
        </a:hlink>
        <a:folHlink>
          <a:srgbClr val="C412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8_AIG_Presentation_Template_0513">
  <a:themeElements>
    <a:clrScheme name="AIG Template 6">
      <a:dk1>
        <a:srgbClr val="000000"/>
      </a:dk1>
      <a:lt1>
        <a:srgbClr val="00A4E4"/>
      </a:lt1>
      <a:dk2>
        <a:srgbClr val="5F5F5F"/>
      </a:dk2>
      <a:lt2>
        <a:srgbClr val="FDB913"/>
      </a:lt2>
      <a:accent1>
        <a:srgbClr val="0073AE"/>
      </a:accent1>
      <a:accent2>
        <a:srgbClr val="E36F1E"/>
      </a:accent2>
      <a:accent3>
        <a:srgbClr val="AACFEF"/>
      </a:accent3>
      <a:accent4>
        <a:srgbClr val="000000"/>
      </a:accent4>
      <a:accent5>
        <a:srgbClr val="AABCD3"/>
      </a:accent5>
      <a:accent6>
        <a:srgbClr val="CE641A"/>
      </a:accent6>
      <a:hlink>
        <a:srgbClr val="78A22F"/>
      </a:hlink>
      <a:folHlink>
        <a:srgbClr val="C41230"/>
      </a:folHlink>
    </a:clrScheme>
    <a:fontScheme name="AIG Template">
      <a:majorFont>
        <a:latin typeface="Arial"/>
        <a:ea typeface="ＭＳ Ｐゴシック"/>
        <a:cs typeface="Arial"/>
      </a:majorFont>
      <a:minorFont>
        <a:latin typeface="Arial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IG Template 1">
        <a:dk1>
          <a:srgbClr val="005984"/>
        </a:dk1>
        <a:lt1>
          <a:srgbClr val="00A4E4"/>
        </a:lt1>
        <a:dk2>
          <a:srgbClr val="78A22F"/>
        </a:dk2>
        <a:lt2>
          <a:srgbClr val="E36F1E"/>
        </a:lt2>
        <a:accent1>
          <a:srgbClr val="C41230"/>
        </a:accent1>
        <a:accent2>
          <a:srgbClr val="FDB913"/>
        </a:accent2>
        <a:accent3>
          <a:srgbClr val="AACFEF"/>
        </a:accent3>
        <a:accent4>
          <a:srgbClr val="004B70"/>
        </a:accent4>
        <a:accent5>
          <a:srgbClr val="DEAAAD"/>
        </a:accent5>
        <a:accent6>
          <a:srgbClr val="E5A710"/>
        </a:accent6>
        <a:hlink>
          <a:srgbClr val="AF006E"/>
        </a:hlink>
        <a:folHlink>
          <a:srgbClr val="5F5F5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G Template 2">
        <a:dk1>
          <a:srgbClr val="5F5F5F"/>
        </a:dk1>
        <a:lt1>
          <a:srgbClr val="FDB913"/>
        </a:lt1>
        <a:dk2>
          <a:srgbClr val="78A22F"/>
        </a:dk2>
        <a:lt2>
          <a:srgbClr val="E36F1E"/>
        </a:lt2>
        <a:accent1>
          <a:srgbClr val="005984"/>
        </a:accent1>
        <a:accent2>
          <a:srgbClr val="E36F1E"/>
        </a:accent2>
        <a:accent3>
          <a:srgbClr val="FED9AA"/>
        </a:accent3>
        <a:accent4>
          <a:srgbClr val="505050"/>
        </a:accent4>
        <a:accent5>
          <a:srgbClr val="AAB5C2"/>
        </a:accent5>
        <a:accent6>
          <a:srgbClr val="CE641A"/>
        </a:accent6>
        <a:hlink>
          <a:srgbClr val="78A22F"/>
        </a:hlink>
        <a:folHlink>
          <a:srgbClr val="C4123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G Template 3">
        <a:dk1>
          <a:srgbClr val="78A22F"/>
        </a:dk1>
        <a:lt1>
          <a:srgbClr val="E36F1E"/>
        </a:lt1>
        <a:dk2>
          <a:srgbClr val="005984"/>
        </a:dk2>
        <a:lt2>
          <a:srgbClr val="C41230"/>
        </a:lt2>
        <a:accent1>
          <a:srgbClr val="FDB913"/>
        </a:accent1>
        <a:accent2>
          <a:srgbClr val="5F5F5F"/>
        </a:accent2>
        <a:accent3>
          <a:srgbClr val="AAB5C2"/>
        </a:accent3>
        <a:accent4>
          <a:srgbClr val="C25E18"/>
        </a:accent4>
        <a:accent5>
          <a:srgbClr val="FED9AA"/>
        </a:accent5>
        <a:accent6>
          <a:srgbClr val="555555"/>
        </a:accent6>
        <a:hlink>
          <a:srgbClr val="00A4E4"/>
        </a:hlink>
        <a:folHlink>
          <a:srgbClr val="C4123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IG Template 4">
        <a:dk1>
          <a:srgbClr val="78A22F"/>
        </a:dk1>
        <a:lt1>
          <a:srgbClr val="E36F1E"/>
        </a:lt1>
        <a:dk2>
          <a:srgbClr val="005984"/>
        </a:dk2>
        <a:lt2>
          <a:srgbClr val="C41230"/>
        </a:lt2>
        <a:accent1>
          <a:srgbClr val="FDB913"/>
        </a:accent1>
        <a:accent2>
          <a:srgbClr val="5F5F5F"/>
        </a:accent2>
        <a:accent3>
          <a:srgbClr val="AAB5C2"/>
        </a:accent3>
        <a:accent4>
          <a:srgbClr val="C25E18"/>
        </a:accent4>
        <a:accent5>
          <a:srgbClr val="FED9AA"/>
        </a:accent5>
        <a:accent6>
          <a:srgbClr val="555555"/>
        </a:accent6>
        <a:hlink>
          <a:srgbClr val="00A4E4"/>
        </a:hlink>
        <a:folHlink>
          <a:srgbClr val="00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IG Template 5">
        <a:dk1>
          <a:srgbClr val="000000"/>
        </a:dk1>
        <a:lt1>
          <a:srgbClr val="00A4E4"/>
        </a:lt1>
        <a:dk2>
          <a:srgbClr val="5F5F5F"/>
        </a:dk2>
        <a:lt2>
          <a:srgbClr val="FDB913"/>
        </a:lt2>
        <a:accent1>
          <a:srgbClr val="005984"/>
        </a:accent1>
        <a:accent2>
          <a:srgbClr val="E36F1E"/>
        </a:accent2>
        <a:accent3>
          <a:srgbClr val="AACFEF"/>
        </a:accent3>
        <a:accent4>
          <a:srgbClr val="000000"/>
        </a:accent4>
        <a:accent5>
          <a:srgbClr val="AAB5C2"/>
        </a:accent5>
        <a:accent6>
          <a:srgbClr val="CE641A"/>
        </a:accent6>
        <a:hlink>
          <a:srgbClr val="78A22F"/>
        </a:hlink>
        <a:folHlink>
          <a:srgbClr val="C4123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G Template 6">
        <a:dk1>
          <a:srgbClr val="000000"/>
        </a:dk1>
        <a:lt1>
          <a:srgbClr val="00A4E4"/>
        </a:lt1>
        <a:dk2>
          <a:srgbClr val="5F5F5F"/>
        </a:dk2>
        <a:lt2>
          <a:srgbClr val="FDB913"/>
        </a:lt2>
        <a:accent1>
          <a:srgbClr val="0073AE"/>
        </a:accent1>
        <a:accent2>
          <a:srgbClr val="E36F1E"/>
        </a:accent2>
        <a:accent3>
          <a:srgbClr val="AACFEF"/>
        </a:accent3>
        <a:accent4>
          <a:srgbClr val="000000"/>
        </a:accent4>
        <a:accent5>
          <a:srgbClr val="AABCD3"/>
        </a:accent5>
        <a:accent6>
          <a:srgbClr val="CE641A"/>
        </a:accent6>
        <a:hlink>
          <a:srgbClr val="78A22F"/>
        </a:hlink>
        <a:folHlink>
          <a:srgbClr val="C412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9_AIG_Presentation_Template_0513">
  <a:themeElements>
    <a:clrScheme name="AIG Template 6">
      <a:dk1>
        <a:srgbClr val="000000"/>
      </a:dk1>
      <a:lt1>
        <a:srgbClr val="00A4E4"/>
      </a:lt1>
      <a:dk2>
        <a:srgbClr val="5F5F5F"/>
      </a:dk2>
      <a:lt2>
        <a:srgbClr val="FDB913"/>
      </a:lt2>
      <a:accent1>
        <a:srgbClr val="0073AE"/>
      </a:accent1>
      <a:accent2>
        <a:srgbClr val="E36F1E"/>
      </a:accent2>
      <a:accent3>
        <a:srgbClr val="AACFEF"/>
      </a:accent3>
      <a:accent4>
        <a:srgbClr val="000000"/>
      </a:accent4>
      <a:accent5>
        <a:srgbClr val="AABCD3"/>
      </a:accent5>
      <a:accent6>
        <a:srgbClr val="CE641A"/>
      </a:accent6>
      <a:hlink>
        <a:srgbClr val="78A22F"/>
      </a:hlink>
      <a:folHlink>
        <a:srgbClr val="C41230"/>
      </a:folHlink>
    </a:clrScheme>
    <a:fontScheme name="AIG Template">
      <a:majorFont>
        <a:latin typeface="Arial"/>
        <a:ea typeface="ＭＳ Ｐゴシック"/>
        <a:cs typeface="Arial"/>
      </a:majorFont>
      <a:minorFont>
        <a:latin typeface="Arial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IG Template 1">
        <a:dk1>
          <a:srgbClr val="005984"/>
        </a:dk1>
        <a:lt1>
          <a:srgbClr val="00A4E4"/>
        </a:lt1>
        <a:dk2>
          <a:srgbClr val="78A22F"/>
        </a:dk2>
        <a:lt2>
          <a:srgbClr val="E36F1E"/>
        </a:lt2>
        <a:accent1>
          <a:srgbClr val="C41230"/>
        </a:accent1>
        <a:accent2>
          <a:srgbClr val="FDB913"/>
        </a:accent2>
        <a:accent3>
          <a:srgbClr val="AACFEF"/>
        </a:accent3>
        <a:accent4>
          <a:srgbClr val="004B70"/>
        </a:accent4>
        <a:accent5>
          <a:srgbClr val="DEAAAD"/>
        </a:accent5>
        <a:accent6>
          <a:srgbClr val="E5A710"/>
        </a:accent6>
        <a:hlink>
          <a:srgbClr val="AF006E"/>
        </a:hlink>
        <a:folHlink>
          <a:srgbClr val="5F5F5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G Template 2">
        <a:dk1>
          <a:srgbClr val="5F5F5F"/>
        </a:dk1>
        <a:lt1>
          <a:srgbClr val="FDB913"/>
        </a:lt1>
        <a:dk2>
          <a:srgbClr val="78A22F"/>
        </a:dk2>
        <a:lt2>
          <a:srgbClr val="E36F1E"/>
        </a:lt2>
        <a:accent1>
          <a:srgbClr val="005984"/>
        </a:accent1>
        <a:accent2>
          <a:srgbClr val="E36F1E"/>
        </a:accent2>
        <a:accent3>
          <a:srgbClr val="FED9AA"/>
        </a:accent3>
        <a:accent4>
          <a:srgbClr val="505050"/>
        </a:accent4>
        <a:accent5>
          <a:srgbClr val="AAB5C2"/>
        </a:accent5>
        <a:accent6>
          <a:srgbClr val="CE641A"/>
        </a:accent6>
        <a:hlink>
          <a:srgbClr val="78A22F"/>
        </a:hlink>
        <a:folHlink>
          <a:srgbClr val="C4123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G Template 3">
        <a:dk1>
          <a:srgbClr val="78A22F"/>
        </a:dk1>
        <a:lt1>
          <a:srgbClr val="E36F1E"/>
        </a:lt1>
        <a:dk2>
          <a:srgbClr val="005984"/>
        </a:dk2>
        <a:lt2>
          <a:srgbClr val="C41230"/>
        </a:lt2>
        <a:accent1>
          <a:srgbClr val="FDB913"/>
        </a:accent1>
        <a:accent2>
          <a:srgbClr val="5F5F5F"/>
        </a:accent2>
        <a:accent3>
          <a:srgbClr val="AAB5C2"/>
        </a:accent3>
        <a:accent4>
          <a:srgbClr val="C25E18"/>
        </a:accent4>
        <a:accent5>
          <a:srgbClr val="FED9AA"/>
        </a:accent5>
        <a:accent6>
          <a:srgbClr val="555555"/>
        </a:accent6>
        <a:hlink>
          <a:srgbClr val="00A4E4"/>
        </a:hlink>
        <a:folHlink>
          <a:srgbClr val="C4123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IG Template 4">
        <a:dk1>
          <a:srgbClr val="78A22F"/>
        </a:dk1>
        <a:lt1>
          <a:srgbClr val="E36F1E"/>
        </a:lt1>
        <a:dk2>
          <a:srgbClr val="005984"/>
        </a:dk2>
        <a:lt2>
          <a:srgbClr val="C41230"/>
        </a:lt2>
        <a:accent1>
          <a:srgbClr val="FDB913"/>
        </a:accent1>
        <a:accent2>
          <a:srgbClr val="5F5F5F"/>
        </a:accent2>
        <a:accent3>
          <a:srgbClr val="AAB5C2"/>
        </a:accent3>
        <a:accent4>
          <a:srgbClr val="C25E18"/>
        </a:accent4>
        <a:accent5>
          <a:srgbClr val="FED9AA"/>
        </a:accent5>
        <a:accent6>
          <a:srgbClr val="555555"/>
        </a:accent6>
        <a:hlink>
          <a:srgbClr val="00A4E4"/>
        </a:hlink>
        <a:folHlink>
          <a:srgbClr val="00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IG Template 5">
        <a:dk1>
          <a:srgbClr val="000000"/>
        </a:dk1>
        <a:lt1>
          <a:srgbClr val="00A4E4"/>
        </a:lt1>
        <a:dk2>
          <a:srgbClr val="5F5F5F"/>
        </a:dk2>
        <a:lt2>
          <a:srgbClr val="FDB913"/>
        </a:lt2>
        <a:accent1>
          <a:srgbClr val="005984"/>
        </a:accent1>
        <a:accent2>
          <a:srgbClr val="E36F1E"/>
        </a:accent2>
        <a:accent3>
          <a:srgbClr val="AACFEF"/>
        </a:accent3>
        <a:accent4>
          <a:srgbClr val="000000"/>
        </a:accent4>
        <a:accent5>
          <a:srgbClr val="AAB5C2"/>
        </a:accent5>
        <a:accent6>
          <a:srgbClr val="CE641A"/>
        </a:accent6>
        <a:hlink>
          <a:srgbClr val="78A22F"/>
        </a:hlink>
        <a:folHlink>
          <a:srgbClr val="C4123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G Template 6">
        <a:dk1>
          <a:srgbClr val="000000"/>
        </a:dk1>
        <a:lt1>
          <a:srgbClr val="00A4E4"/>
        </a:lt1>
        <a:dk2>
          <a:srgbClr val="5F5F5F"/>
        </a:dk2>
        <a:lt2>
          <a:srgbClr val="FDB913"/>
        </a:lt2>
        <a:accent1>
          <a:srgbClr val="0073AE"/>
        </a:accent1>
        <a:accent2>
          <a:srgbClr val="E36F1E"/>
        </a:accent2>
        <a:accent3>
          <a:srgbClr val="AACFEF"/>
        </a:accent3>
        <a:accent4>
          <a:srgbClr val="000000"/>
        </a:accent4>
        <a:accent5>
          <a:srgbClr val="AABCD3"/>
        </a:accent5>
        <a:accent6>
          <a:srgbClr val="CE641A"/>
        </a:accent6>
        <a:hlink>
          <a:srgbClr val="78A22F"/>
        </a:hlink>
        <a:folHlink>
          <a:srgbClr val="C412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0_AIG_Presentation_Template_0513">
  <a:themeElements>
    <a:clrScheme name="AIG Template 6">
      <a:dk1>
        <a:srgbClr val="000000"/>
      </a:dk1>
      <a:lt1>
        <a:srgbClr val="00A4E4"/>
      </a:lt1>
      <a:dk2>
        <a:srgbClr val="5F5F5F"/>
      </a:dk2>
      <a:lt2>
        <a:srgbClr val="FDB913"/>
      </a:lt2>
      <a:accent1>
        <a:srgbClr val="0073AE"/>
      </a:accent1>
      <a:accent2>
        <a:srgbClr val="E36F1E"/>
      </a:accent2>
      <a:accent3>
        <a:srgbClr val="AACFEF"/>
      </a:accent3>
      <a:accent4>
        <a:srgbClr val="000000"/>
      </a:accent4>
      <a:accent5>
        <a:srgbClr val="AABCD3"/>
      </a:accent5>
      <a:accent6>
        <a:srgbClr val="CE641A"/>
      </a:accent6>
      <a:hlink>
        <a:srgbClr val="78A22F"/>
      </a:hlink>
      <a:folHlink>
        <a:srgbClr val="C41230"/>
      </a:folHlink>
    </a:clrScheme>
    <a:fontScheme name="AIG Template">
      <a:majorFont>
        <a:latin typeface="Arial"/>
        <a:ea typeface="ＭＳ Ｐゴシック"/>
        <a:cs typeface="Arial"/>
      </a:majorFont>
      <a:minorFont>
        <a:latin typeface="Arial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IG Template 1">
        <a:dk1>
          <a:srgbClr val="005984"/>
        </a:dk1>
        <a:lt1>
          <a:srgbClr val="00A4E4"/>
        </a:lt1>
        <a:dk2>
          <a:srgbClr val="78A22F"/>
        </a:dk2>
        <a:lt2>
          <a:srgbClr val="E36F1E"/>
        </a:lt2>
        <a:accent1>
          <a:srgbClr val="C41230"/>
        </a:accent1>
        <a:accent2>
          <a:srgbClr val="FDB913"/>
        </a:accent2>
        <a:accent3>
          <a:srgbClr val="AACFEF"/>
        </a:accent3>
        <a:accent4>
          <a:srgbClr val="004B70"/>
        </a:accent4>
        <a:accent5>
          <a:srgbClr val="DEAAAD"/>
        </a:accent5>
        <a:accent6>
          <a:srgbClr val="E5A710"/>
        </a:accent6>
        <a:hlink>
          <a:srgbClr val="AF006E"/>
        </a:hlink>
        <a:folHlink>
          <a:srgbClr val="5F5F5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G Template 2">
        <a:dk1>
          <a:srgbClr val="5F5F5F"/>
        </a:dk1>
        <a:lt1>
          <a:srgbClr val="FDB913"/>
        </a:lt1>
        <a:dk2>
          <a:srgbClr val="78A22F"/>
        </a:dk2>
        <a:lt2>
          <a:srgbClr val="E36F1E"/>
        </a:lt2>
        <a:accent1>
          <a:srgbClr val="005984"/>
        </a:accent1>
        <a:accent2>
          <a:srgbClr val="E36F1E"/>
        </a:accent2>
        <a:accent3>
          <a:srgbClr val="FED9AA"/>
        </a:accent3>
        <a:accent4>
          <a:srgbClr val="505050"/>
        </a:accent4>
        <a:accent5>
          <a:srgbClr val="AAB5C2"/>
        </a:accent5>
        <a:accent6>
          <a:srgbClr val="CE641A"/>
        </a:accent6>
        <a:hlink>
          <a:srgbClr val="78A22F"/>
        </a:hlink>
        <a:folHlink>
          <a:srgbClr val="C4123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G Template 3">
        <a:dk1>
          <a:srgbClr val="78A22F"/>
        </a:dk1>
        <a:lt1>
          <a:srgbClr val="E36F1E"/>
        </a:lt1>
        <a:dk2>
          <a:srgbClr val="005984"/>
        </a:dk2>
        <a:lt2>
          <a:srgbClr val="C41230"/>
        </a:lt2>
        <a:accent1>
          <a:srgbClr val="FDB913"/>
        </a:accent1>
        <a:accent2>
          <a:srgbClr val="5F5F5F"/>
        </a:accent2>
        <a:accent3>
          <a:srgbClr val="AAB5C2"/>
        </a:accent3>
        <a:accent4>
          <a:srgbClr val="C25E18"/>
        </a:accent4>
        <a:accent5>
          <a:srgbClr val="FED9AA"/>
        </a:accent5>
        <a:accent6>
          <a:srgbClr val="555555"/>
        </a:accent6>
        <a:hlink>
          <a:srgbClr val="00A4E4"/>
        </a:hlink>
        <a:folHlink>
          <a:srgbClr val="C4123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IG Template 4">
        <a:dk1>
          <a:srgbClr val="78A22F"/>
        </a:dk1>
        <a:lt1>
          <a:srgbClr val="E36F1E"/>
        </a:lt1>
        <a:dk2>
          <a:srgbClr val="005984"/>
        </a:dk2>
        <a:lt2>
          <a:srgbClr val="C41230"/>
        </a:lt2>
        <a:accent1>
          <a:srgbClr val="FDB913"/>
        </a:accent1>
        <a:accent2>
          <a:srgbClr val="5F5F5F"/>
        </a:accent2>
        <a:accent3>
          <a:srgbClr val="AAB5C2"/>
        </a:accent3>
        <a:accent4>
          <a:srgbClr val="C25E18"/>
        </a:accent4>
        <a:accent5>
          <a:srgbClr val="FED9AA"/>
        </a:accent5>
        <a:accent6>
          <a:srgbClr val="555555"/>
        </a:accent6>
        <a:hlink>
          <a:srgbClr val="00A4E4"/>
        </a:hlink>
        <a:folHlink>
          <a:srgbClr val="00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IG Template 5">
        <a:dk1>
          <a:srgbClr val="000000"/>
        </a:dk1>
        <a:lt1>
          <a:srgbClr val="00A4E4"/>
        </a:lt1>
        <a:dk2>
          <a:srgbClr val="5F5F5F"/>
        </a:dk2>
        <a:lt2>
          <a:srgbClr val="FDB913"/>
        </a:lt2>
        <a:accent1>
          <a:srgbClr val="005984"/>
        </a:accent1>
        <a:accent2>
          <a:srgbClr val="E36F1E"/>
        </a:accent2>
        <a:accent3>
          <a:srgbClr val="AACFEF"/>
        </a:accent3>
        <a:accent4>
          <a:srgbClr val="000000"/>
        </a:accent4>
        <a:accent5>
          <a:srgbClr val="AAB5C2"/>
        </a:accent5>
        <a:accent6>
          <a:srgbClr val="CE641A"/>
        </a:accent6>
        <a:hlink>
          <a:srgbClr val="78A22F"/>
        </a:hlink>
        <a:folHlink>
          <a:srgbClr val="C4123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G Template 6">
        <a:dk1>
          <a:srgbClr val="000000"/>
        </a:dk1>
        <a:lt1>
          <a:srgbClr val="00A4E4"/>
        </a:lt1>
        <a:dk2>
          <a:srgbClr val="5F5F5F"/>
        </a:dk2>
        <a:lt2>
          <a:srgbClr val="FDB913"/>
        </a:lt2>
        <a:accent1>
          <a:srgbClr val="0073AE"/>
        </a:accent1>
        <a:accent2>
          <a:srgbClr val="E36F1E"/>
        </a:accent2>
        <a:accent3>
          <a:srgbClr val="AACFEF"/>
        </a:accent3>
        <a:accent4>
          <a:srgbClr val="000000"/>
        </a:accent4>
        <a:accent5>
          <a:srgbClr val="AABCD3"/>
        </a:accent5>
        <a:accent6>
          <a:srgbClr val="CE641A"/>
        </a:accent6>
        <a:hlink>
          <a:srgbClr val="78A22F"/>
        </a:hlink>
        <a:folHlink>
          <a:srgbClr val="C412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647D0762B28B14493CC52131D99BD20" ma:contentTypeVersion="0" ma:contentTypeDescription="Create a new document." ma:contentTypeScope="" ma:versionID="f9b148561828d015d126c74d67643e8e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AB4DF3B-C61B-43F1-BDDC-895B571BF26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51FFE80-675F-4C1B-8115-0565BB6A1FC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363AF204-25C6-4760-9163-A4E2524A22DD}">
  <ds:schemaRefs>
    <ds:schemaRef ds:uri="http://purl.org/dc/elements/1.1/"/>
    <ds:schemaRef ds:uri="http://purl.org/dc/terms/"/>
    <ds:schemaRef ds:uri="http://schemas.microsoft.com/office/2006/metadata/properties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_Deloitte US Brand</Template>
  <TotalTime>94109</TotalTime>
  <Words>592</Words>
  <Application>Microsoft Office PowerPoint</Application>
  <PresentationFormat>Custom</PresentationFormat>
  <Paragraphs>210</Paragraphs>
  <Slides>10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5" baseType="lpstr">
      <vt:lpstr>2_AIG_Presentation_Template_0513</vt:lpstr>
      <vt:lpstr>5_AIG_Presentation_Template_0513</vt:lpstr>
      <vt:lpstr>6_AIG_Presentation_Template_0513</vt:lpstr>
      <vt:lpstr>7_AIG_Presentation_Template_0513</vt:lpstr>
      <vt:lpstr>6_U S  Consulting Report Template_022307 (2)</vt:lpstr>
      <vt:lpstr>4_AIG_Presentation_Template_0513</vt:lpstr>
      <vt:lpstr>8_AIG_Presentation_Template_0513</vt:lpstr>
      <vt:lpstr>9_AIG_Presentation_Template_0513</vt:lpstr>
      <vt:lpstr>10_AIG_Presentation_Template_0513</vt:lpstr>
      <vt:lpstr>11_AIG_Presentation_Template_0513</vt:lpstr>
      <vt:lpstr>12_AIG_Presentation_Template_0513</vt:lpstr>
      <vt:lpstr>13_AIG_Presentation_Template_0513</vt:lpstr>
      <vt:lpstr>14_AIG_Presentation_Template_0513</vt:lpstr>
      <vt:lpstr>15_AIG_Presentation_Template_0513</vt:lpstr>
      <vt:lpstr>think-cell Slide</vt:lpstr>
      <vt:lpstr>Weekly Chats with Global IT</vt:lpstr>
      <vt:lpstr>Agenda for Today’s Cha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Deloitt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eng, Yvonne</dc:creator>
  <cp:lastModifiedBy>Dhiraj, Kumar</cp:lastModifiedBy>
  <cp:revision>2754</cp:revision>
  <cp:lastPrinted>2016-05-18T23:04:54Z</cp:lastPrinted>
  <dcterms:created xsi:type="dcterms:W3CDTF">2015-10-16T14:19:27Z</dcterms:created>
  <dcterms:modified xsi:type="dcterms:W3CDTF">2018-10-10T10:31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647D0762B28B14493CC52131D99BD20</vt:lpwstr>
  </property>
</Properties>
</file>